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m4a" ContentType="audio/mp4"/>
  <Default Extension="mp3" ContentType="audio/mpeg"/>
  <Default Extension="mp4" ContentType="video/mp4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tl="1" saveSubsetFonts="1" autoCompressPictures="0" bookmarkIdSeed="3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</p:sldIdLst>
  <p:sldSz cx="12192000" cy="6858000"/>
  <p:notesSz cx="6858000" cy="9144000"/>
  <p:defaultTextStyle>
    <a:defPPr>
      <a:defRPr lang="he-IL"/>
    </a:defPPr>
    <a:lvl1pPr marL="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8B2F"/>
    <a:srgbClr val="F5EFEC"/>
    <a:srgbClr val="F4EAE5"/>
    <a:srgbClr val="F0D9CC"/>
    <a:srgbClr val="DBA689"/>
    <a:srgbClr val="99693D"/>
    <a:srgbClr val="BE8B5D"/>
    <a:srgbClr val="C19265"/>
    <a:srgbClr val="CCC5B5"/>
    <a:srgbClr val="C4830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סגנון ביניים 2 - הדגשה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5262" autoAdjust="0"/>
    <p:restoredTop sz="94595"/>
  </p:normalViewPr>
  <p:slideViewPr>
    <p:cSldViewPr snapToGrid="0" snapToObjects="1">
      <p:cViewPr varScale="1">
        <p:scale>
          <a:sx n="81" d="100"/>
          <a:sy n="81" d="100"/>
        </p:scale>
        <p:origin x="120" y="52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שקופית כותר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4E526BC5-AAD0-604E-87BC-F9E1D37F1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כותרת משנה 2">
            <a:extLst>
              <a:ext uri="{FF2B5EF4-FFF2-40B4-BE49-F238E27FC236}">
                <a16:creationId xmlns:a16="http://schemas.microsoft.com/office/drawing/2014/main" id="{F7F47631-E1E4-6A4C-86EC-A66C7ADF87C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e-IL"/>
              <a:t>לחץ כדי לערוך סגנון כותרת משנה של תבנית בסיס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D1A65032-E68B-BA4C-80C2-368DAA05BC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כ"ד/אייר/תשפ"ה</a:t>
            </a:fld>
            <a:endParaRPr lang="he-IL"/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E3079E93-9862-D74C-B96D-AA255F3111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9772BDCD-DC5F-4E46-8345-A946B9B345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3725321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כותרת וטקסט אנכ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C4D1E1CD-8795-FB42-8E7C-8071EF71E3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טקסט אנכי 2">
            <a:extLst>
              <a:ext uri="{FF2B5EF4-FFF2-40B4-BE49-F238E27FC236}">
                <a16:creationId xmlns:a16="http://schemas.microsoft.com/office/drawing/2014/main" id="{0D02817A-FF28-C047-ADA5-676622A5936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B89C79DB-5B60-E948-94E2-32372FDD7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כ"ד/אייר/תשפ"ה</a:t>
            </a:fld>
            <a:endParaRPr lang="he-IL"/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2B492258-41E7-3141-B2BB-9271091DDB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EFED8592-8C17-F848-AB39-99B56813CC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714249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כותרת אנכית וטקס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אנכית 1">
            <a:extLst>
              <a:ext uri="{FF2B5EF4-FFF2-40B4-BE49-F238E27FC236}">
                <a16:creationId xmlns:a16="http://schemas.microsoft.com/office/drawing/2014/main" id="{4145CD84-9F99-BB41-9B08-403B0D34E32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טקסט אנכי 2">
            <a:extLst>
              <a:ext uri="{FF2B5EF4-FFF2-40B4-BE49-F238E27FC236}">
                <a16:creationId xmlns:a16="http://schemas.microsoft.com/office/drawing/2014/main" id="{CE4C4DA9-C994-B847-9889-F875D1CB813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81EAC42B-CDE7-1644-B84C-1D79A300C3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כ"ד/אייר/תשפ"ה</a:t>
            </a:fld>
            <a:endParaRPr lang="he-IL"/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418CED16-823D-364E-B206-B184B68330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B6E3D6AC-CB9D-5C40-97DF-29A1E3BEBD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4069583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FD008A5F-C541-8844-8C80-93D9031719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>
            <a:extLst>
              <a:ext uri="{FF2B5EF4-FFF2-40B4-BE49-F238E27FC236}">
                <a16:creationId xmlns:a16="http://schemas.microsoft.com/office/drawing/2014/main" id="{E5A38191-59ED-4D41-AB42-0C54DD460A1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57934EDE-A2CF-2B48-97A3-8DD37EB659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כ"ד/אייר/תשפ"ה</a:t>
            </a:fld>
            <a:endParaRPr lang="he-IL"/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B5874047-079B-CC45-B0DD-F7E54EEC7A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ED6BA46A-03D2-F147-B8E6-1F4750514D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899404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כותרת מקטע עליונ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D5BB3291-C8AF-3A4E-A8AC-FEBC1925C7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>
            <a:extLst>
              <a:ext uri="{FF2B5EF4-FFF2-40B4-BE49-F238E27FC236}">
                <a16:creationId xmlns:a16="http://schemas.microsoft.com/office/drawing/2014/main" id="{272620AD-CBFA-174B-882A-2F13804058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F344C3EC-5C0C-C846-817A-3322216F0C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כ"ד/אייר/תשפ"ה</a:t>
            </a:fld>
            <a:endParaRPr lang="he-IL"/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5DF01B80-BAF8-7B4F-92E3-F878C25794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CB42565C-4827-4E43-B771-7272F2EF17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4079969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שני תכני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C26FCDA1-FCC3-B94F-8D6A-83B98FB3E4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>
            <a:extLst>
              <a:ext uri="{FF2B5EF4-FFF2-40B4-BE49-F238E27FC236}">
                <a16:creationId xmlns:a16="http://schemas.microsoft.com/office/drawing/2014/main" id="{E9751FEE-02C4-724E-B108-D34489CA2C9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תוכן 3">
            <a:extLst>
              <a:ext uri="{FF2B5EF4-FFF2-40B4-BE49-F238E27FC236}">
                <a16:creationId xmlns:a16="http://schemas.microsoft.com/office/drawing/2014/main" id="{BD89AB24-1E2C-4F48-B84F-D58BF29BE3C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5" name="מציין מיקום של תאריך 4">
            <a:extLst>
              <a:ext uri="{FF2B5EF4-FFF2-40B4-BE49-F238E27FC236}">
                <a16:creationId xmlns:a16="http://schemas.microsoft.com/office/drawing/2014/main" id="{F57FD548-CFE9-A245-BA6C-E594C958A6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כ"ד/אייר/תשפ"ה</a:t>
            </a:fld>
            <a:endParaRPr lang="he-IL"/>
          </a:p>
        </p:txBody>
      </p:sp>
      <p:sp>
        <p:nvSpPr>
          <p:cNvPr id="6" name="מציין מיקום של כותרת תחתונה 5">
            <a:extLst>
              <a:ext uri="{FF2B5EF4-FFF2-40B4-BE49-F238E27FC236}">
                <a16:creationId xmlns:a16="http://schemas.microsoft.com/office/drawing/2014/main" id="{1EC21C41-F7F2-E842-8A3B-FBD78F5CEA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7" name="מציין מיקום של מספר שקופית 6">
            <a:extLst>
              <a:ext uri="{FF2B5EF4-FFF2-40B4-BE49-F238E27FC236}">
                <a16:creationId xmlns:a16="http://schemas.microsoft.com/office/drawing/2014/main" id="{5FDE9E55-98C6-4044-8965-BF0AE8B285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208698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השווא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FD363456-A546-A54B-B6AC-13F6C26E6B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>
            <a:extLst>
              <a:ext uri="{FF2B5EF4-FFF2-40B4-BE49-F238E27FC236}">
                <a16:creationId xmlns:a16="http://schemas.microsoft.com/office/drawing/2014/main" id="{278A8B52-C645-FB40-AEF9-1124CA4B1C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4" name="מציין מיקום תוכן 3">
            <a:extLst>
              <a:ext uri="{FF2B5EF4-FFF2-40B4-BE49-F238E27FC236}">
                <a16:creationId xmlns:a16="http://schemas.microsoft.com/office/drawing/2014/main" id="{298C6128-2EC5-6A4A-8440-CC6CD18514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5" name="מציין מיקום טקסט 4">
            <a:extLst>
              <a:ext uri="{FF2B5EF4-FFF2-40B4-BE49-F238E27FC236}">
                <a16:creationId xmlns:a16="http://schemas.microsoft.com/office/drawing/2014/main" id="{5719B94B-95B1-124F-AD93-B15ADA1DC0C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6" name="מציין מיקום תוכן 5">
            <a:extLst>
              <a:ext uri="{FF2B5EF4-FFF2-40B4-BE49-F238E27FC236}">
                <a16:creationId xmlns:a16="http://schemas.microsoft.com/office/drawing/2014/main" id="{99F00E67-1628-094B-A8E2-11C75EB5D6B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7" name="מציין מיקום של תאריך 6">
            <a:extLst>
              <a:ext uri="{FF2B5EF4-FFF2-40B4-BE49-F238E27FC236}">
                <a16:creationId xmlns:a16="http://schemas.microsoft.com/office/drawing/2014/main" id="{A39F819D-A39C-2849-98B1-702E7F941F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כ"ד/אייר/תשפ"ה</a:t>
            </a:fld>
            <a:endParaRPr lang="he-IL"/>
          </a:p>
        </p:txBody>
      </p:sp>
      <p:sp>
        <p:nvSpPr>
          <p:cNvPr id="8" name="מציין מיקום של כותרת תחתונה 7">
            <a:extLst>
              <a:ext uri="{FF2B5EF4-FFF2-40B4-BE49-F238E27FC236}">
                <a16:creationId xmlns:a16="http://schemas.microsoft.com/office/drawing/2014/main" id="{AF2BAD48-32D4-AC4D-982D-222D690E0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9" name="מציין מיקום של מספר שקופית 8">
            <a:extLst>
              <a:ext uri="{FF2B5EF4-FFF2-40B4-BE49-F238E27FC236}">
                <a16:creationId xmlns:a16="http://schemas.microsoft.com/office/drawing/2014/main" id="{F70979B6-3D6C-8743-8DC8-A44E2D26F3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2986010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כותרת בלב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9FD7DFF9-95E7-ED46-9B1D-362E837773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תאריך 2">
            <a:extLst>
              <a:ext uri="{FF2B5EF4-FFF2-40B4-BE49-F238E27FC236}">
                <a16:creationId xmlns:a16="http://schemas.microsoft.com/office/drawing/2014/main" id="{2D6D1C61-4A42-314A-9A79-E437FE215C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כ"ד/אייר/תשפ"ה</a:t>
            </a:fld>
            <a:endParaRPr lang="he-IL"/>
          </a:p>
        </p:txBody>
      </p:sp>
      <p:sp>
        <p:nvSpPr>
          <p:cNvPr id="4" name="מציין מיקום של כותרת תחתונה 3">
            <a:extLst>
              <a:ext uri="{FF2B5EF4-FFF2-40B4-BE49-F238E27FC236}">
                <a16:creationId xmlns:a16="http://schemas.microsoft.com/office/drawing/2014/main" id="{0AC08CC7-B235-8A48-8E40-640B6EEA90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5" name="מציין מיקום של מספר שקופית 4">
            <a:extLst>
              <a:ext uri="{FF2B5EF4-FFF2-40B4-BE49-F238E27FC236}">
                <a16:creationId xmlns:a16="http://schemas.microsoft.com/office/drawing/2014/main" id="{0822AD74-9A3A-5448-8146-CFD51F589C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530071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ריק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אריך 1">
            <a:extLst>
              <a:ext uri="{FF2B5EF4-FFF2-40B4-BE49-F238E27FC236}">
                <a16:creationId xmlns:a16="http://schemas.microsoft.com/office/drawing/2014/main" id="{1115C201-69BD-4C4D-B919-04DE9AA3CE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כ"ד/אייר/תשפ"ה</a:t>
            </a:fld>
            <a:endParaRPr lang="he-IL"/>
          </a:p>
        </p:txBody>
      </p:sp>
      <p:sp>
        <p:nvSpPr>
          <p:cNvPr id="3" name="מציין מיקום של כותרת תחתונה 2">
            <a:extLst>
              <a:ext uri="{FF2B5EF4-FFF2-40B4-BE49-F238E27FC236}">
                <a16:creationId xmlns:a16="http://schemas.microsoft.com/office/drawing/2014/main" id="{C22F11F9-D507-7344-B23B-D53F92988C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4" name="מציין מיקום של מספר שקופית 3">
            <a:extLst>
              <a:ext uri="{FF2B5EF4-FFF2-40B4-BE49-F238E27FC236}">
                <a16:creationId xmlns:a16="http://schemas.microsoft.com/office/drawing/2014/main" id="{6ED4681E-278F-C44F-84B6-86C69376FD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3292951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תוכן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EA705450-0F51-304D-8970-634E66E055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>
            <a:extLst>
              <a:ext uri="{FF2B5EF4-FFF2-40B4-BE49-F238E27FC236}">
                <a16:creationId xmlns:a16="http://schemas.microsoft.com/office/drawing/2014/main" id="{70D0E09D-B400-9B49-8997-4C3C6EF449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טקסט 3">
            <a:extLst>
              <a:ext uri="{FF2B5EF4-FFF2-40B4-BE49-F238E27FC236}">
                <a16:creationId xmlns:a16="http://schemas.microsoft.com/office/drawing/2014/main" id="{CE3D1130-FF6B-7649-B4A3-55482C10A16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5" name="מציין מיקום של תאריך 4">
            <a:extLst>
              <a:ext uri="{FF2B5EF4-FFF2-40B4-BE49-F238E27FC236}">
                <a16:creationId xmlns:a16="http://schemas.microsoft.com/office/drawing/2014/main" id="{9D4E5841-D869-BC4A-BCC7-7E3D18AE67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כ"ד/אייר/תשפ"ה</a:t>
            </a:fld>
            <a:endParaRPr lang="he-IL"/>
          </a:p>
        </p:txBody>
      </p:sp>
      <p:sp>
        <p:nvSpPr>
          <p:cNvPr id="6" name="מציין מיקום של כותרת תחתונה 5">
            <a:extLst>
              <a:ext uri="{FF2B5EF4-FFF2-40B4-BE49-F238E27FC236}">
                <a16:creationId xmlns:a16="http://schemas.microsoft.com/office/drawing/2014/main" id="{AB0A65CD-CFA4-8A45-819E-12B5F93510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7" name="מציין מיקום של מספר שקופית 6">
            <a:extLst>
              <a:ext uri="{FF2B5EF4-FFF2-40B4-BE49-F238E27FC236}">
                <a16:creationId xmlns:a16="http://schemas.microsoft.com/office/drawing/2014/main" id="{0A3BCF1F-1FC9-B248-893B-ABAE3DFA1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665362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תמונה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D94A3787-DF7E-2D4A-BFEA-69F0D44A37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תמונה 2">
            <a:extLst>
              <a:ext uri="{FF2B5EF4-FFF2-40B4-BE49-F238E27FC236}">
                <a16:creationId xmlns:a16="http://schemas.microsoft.com/office/drawing/2014/main" id="{A0C014EF-B0D5-CC42-9149-71CB162FBBC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e-IL"/>
          </a:p>
        </p:txBody>
      </p:sp>
      <p:sp>
        <p:nvSpPr>
          <p:cNvPr id="4" name="מציין מיקום טקסט 3">
            <a:extLst>
              <a:ext uri="{FF2B5EF4-FFF2-40B4-BE49-F238E27FC236}">
                <a16:creationId xmlns:a16="http://schemas.microsoft.com/office/drawing/2014/main" id="{F84181D1-ACE8-434D-AD5F-4775EA8E63C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5" name="מציין מיקום של תאריך 4">
            <a:extLst>
              <a:ext uri="{FF2B5EF4-FFF2-40B4-BE49-F238E27FC236}">
                <a16:creationId xmlns:a16="http://schemas.microsoft.com/office/drawing/2014/main" id="{84508D1C-E0E8-074A-94D2-0C05DB7967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כ"ד/אייר/תשפ"ה</a:t>
            </a:fld>
            <a:endParaRPr lang="he-IL"/>
          </a:p>
        </p:txBody>
      </p:sp>
      <p:sp>
        <p:nvSpPr>
          <p:cNvPr id="6" name="מציין מיקום של כותרת תחתונה 5">
            <a:extLst>
              <a:ext uri="{FF2B5EF4-FFF2-40B4-BE49-F238E27FC236}">
                <a16:creationId xmlns:a16="http://schemas.microsoft.com/office/drawing/2014/main" id="{BCE5CB9B-5F16-DE44-9C81-B4A2756FAF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7" name="מציין מיקום של מספר שקופית 6">
            <a:extLst>
              <a:ext uri="{FF2B5EF4-FFF2-40B4-BE49-F238E27FC236}">
                <a16:creationId xmlns:a16="http://schemas.microsoft.com/office/drawing/2014/main" id="{CE6CDF4E-8F40-E54B-86EA-5CA17453EC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940788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כותרת 1">
            <a:extLst>
              <a:ext uri="{FF2B5EF4-FFF2-40B4-BE49-F238E27FC236}">
                <a16:creationId xmlns:a16="http://schemas.microsoft.com/office/drawing/2014/main" id="{6EC3EF58-DAAE-064F-BCD1-576DBF76D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1" anchor="ctr">
            <a:normAutofit/>
          </a:bodyPr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>
            <a:extLst>
              <a:ext uri="{FF2B5EF4-FFF2-40B4-BE49-F238E27FC236}">
                <a16:creationId xmlns:a16="http://schemas.microsoft.com/office/drawing/2014/main" id="{56A7479F-AEBC-3F4C-A096-356ECD4286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1">
            <a:normAutofit/>
          </a:bodyPr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F21BBB93-FCEE-774B-BE0F-3657DD896AD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87562A9-B88F-D347-9F83-73D3E63EBE4A}" type="datetimeFigureOut">
              <a:rPr lang="he-IL" smtClean="0"/>
              <a:t>כ"ד/אייר/תשפ"ה</a:t>
            </a:fld>
            <a:endParaRPr lang="he-IL"/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C1EAC6FA-3B90-FE43-A453-FCC275B8C7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e-IL"/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7D5BFA75-E9CF-7C43-AEB1-E3E9ACFD13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997603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xStyles>
    <p:titleStyle>
      <a:lvl1pPr algn="r" defTabSz="914400" rtl="1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r" defTabSz="914400" rtl="1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e-IL"/>
      </a:defPPr>
      <a:lvl1pPr marL="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audio" Target="../media/media1.mp3"/><Relationship Id="rId1" Type="http://schemas.microsoft.com/office/2007/relationships/media" Target="../media/media1.mp3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emf"/><Relationship Id="rId3" Type="http://schemas.openxmlformats.org/officeDocument/2006/relationships/audio" Target="NULL" TargetMode="External"/><Relationship Id="rId7" Type="http://schemas.openxmlformats.org/officeDocument/2006/relationships/oleObject" Target="file:///D:\MegaDrive\&#1488;&#1497;&#1513;&#1497;\&#1488;&#1497;&#1513;&#1497;\ECOM%20-%20QA%20&#1511;&#1493;&#1512;&#1505;\&#1495;&#1493;&#1502;&#1512;&#1497;%20&#1500;&#1497;&#1502;&#1493;&#1491;\Meytal\&#1508;&#1512;&#1493;&#1497;&#1511;&#1496;%201%20-%20&#1488;&#1493;&#1505;&#1488;&#1502;&#1492;\PROJECT%20GITHUB\&#1492;&#1513;&#1497;&#1504;&#1493;&#1497;&#1497;&#1501;%20&#1513;&#1500;&#1497;\&#1502;&#1505;&#1502;&#1498;%20&#1489;&#1491;&#1497;&#1511;&#1493;&#1514;%20STP.docx!OLE_LINK3" TargetMode="Externa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37.jpeg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39.emf"/><Relationship Id="rId4" Type="http://schemas.microsoft.com/office/2007/relationships/media" Target="../media/media22.m4a"/><Relationship Id="rId9" Type="http://schemas.openxmlformats.org/officeDocument/2006/relationships/oleObject" Target="file:///D:\MegaDrive\&#1488;&#1497;&#1513;&#1497;\&#1488;&#1497;&#1513;&#1497;\ECOM%20-%20QA%20&#1511;&#1493;&#1512;&#1505;\&#1495;&#1493;&#1502;&#1512;&#1497;%20&#1500;&#1497;&#1502;&#1493;&#1491;\Meytal\&#1508;&#1512;&#1493;&#1497;&#1511;&#1496;%201%20-%20&#1488;&#1493;&#1505;&#1488;&#1502;&#1492;\PROJECT%20GITHUB\&#1492;&#1513;&#1497;&#1504;&#1493;&#1497;&#1497;&#1501;%20&#1513;&#1500;&#1497;\&#1502;&#1505;&#1502;&#1498;%20&#1489;&#1491;&#1497;&#1511;&#1493;&#1514;%20STP.docx!OLE_LINK4" TargetMode="Externa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microsoft.com/office/2007/relationships/media" Target="../media/media23.m4a"/><Relationship Id="rId7" Type="http://schemas.openxmlformats.org/officeDocument/2006/relationships/image" Target="../media/image41.png"/><Relationship Id="rId2" Type="http://schemas.openxmlformats.org/officeDocument/2006/relationships/audio" Target="NULL" TargetMode="External"/><Relationship Id="rId1" Type="http://schemas.openxmlformats.org/officeDocument/2006/relationships/tags" Target="../tags/tag8.xml"/><Relationship Id="rId6" Type="http://schemas.openxmlformats.org/officeDocument/2006/relationships/image" Target="../media/image40.emf"/><Relationship Id="rId5" Type="http://schemas.openxmlformats.org/officeDocument/2006/relationships/oleObject" Target="file:///D:\MegaDrive\&#1488;&#1497;&#1513;&#1497;\&#1488;&#1497;&#1513;&#1497;\ECOM%20-%20QA%20&#1511;&#1493;&#1512;&#1505;\&#1495;&#1493;&#1502;&#1512;&#1497;%20&#1500;&#1497;&#1502;&#1493;&#1491;\Meytal\&#1508;&#1512;&#1493;&#1497;&#1511;&#1496;%201%20-%20&#1488;&#1493;&#1505;&#1488;&#1502;&#1492;\PROJECT%20GITHUB\&#1492;&#1513;&#1497;&#1504;&#1493;&#1497;&#1497;&#1501;%20&#1513;&#1500;&#1497;\&#1502;&#1505;&#1502;&#1498;%20&#1489;&#1491;&#1497;&#1511;&#1493;&#1514;%20STP.docx!OLE_LINK2" TargetMode="External"/><Relationship Id="rId4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gif"/><Relationship Id="rId3" Type="http://schemas.openxmlformats.org/officeDocument/2006/relationships/audio" Target="NULL" TargetMode="External"/><Relationship Id="rId7" Type="http://schemas.openxmlformats.org/officeDocument/2006/relationships/slideLayout" Target="../slideLayouts/slideLayout1.xml"/><Relationship Id="rId2" Type="http://schemas.openxmlformats.org/officeDocument/2006/relationships/video" Target="../media/media24.mp4"/><Relationship Id="rId1" Type="http://schemas.microsoft.com/office/2007/relationships/media" Target="../media/media24.mp4"/><Relationship Id="rId6" Type="http://schemas.openxmlformats.org/officeDocument/2006/relationships/audio" Target="../media/media26.mp3"/><Relationship Id="rId5" Type="http://schemas.microsoft.com/office/2007/relationships/media" Target="../media/media26.mp3"/><Relationship Id="rId10" Type="http://schemas.openxmlformats.org/officeDocument/2006/relationships/image" Target="../media/image3.png"/><Relationship Id="rId4" Type="http://schemas.microsoft.com/office/2007/relationships/media" Target="../media/media25.m4a"/><Relationship Id="rId9" Type="http://schemas.openxmlformats.org/officeDocument/2006/relationships/image" Target="../media/image4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microsoft.com/office/2007/relationships/media" Target="../media/media3.mp4"/><Relationship Id="rId7" Type="http://schemas.openxmlformats.org/officeDocument/2006/relationships/image" Target="../media/image5.png"/><Relationship Id="rId2" Type="http://schemas.openxmlformats.org/officeDocument/2006/relationships/audio" Target="../media/media2.mp3"/><Relationship Id="rId1" Type="http://schemas.microsoft.com/office/2007/relationships/media" Target="../media/media2.mp3"/><Relationship Id="rId6" Type="http://schemas.openxmlformats.org/officeDocument/2006/relationships/image" Target="../media/image4.jpeg"/><Relationship Id="rId5" Type="http://schemas.openxmlformats.org/officeDocument/2006/relationships/slideLayout" Target="../slideLayouts/slideLayout1.xml"/><Relationship Id="rId4" Type="http://schemas.openxmlformats.org/officeDocument/2006/relationships/video" Target="../media/media3.mp4"/><Relationship Id="rId9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microsoft.com/office/2007/relationships/media" Target="../media/media5.mp3"/><Relationship Id="rId7" Type="http://schemas.openxmlformats.org/officeDocument/2006/relationships/slideLayout" Target="../slideLayouts/slideLayout1.xml"/><Relationship Id="rId2" Type="http://schemas.microsoft.com/office/2007/relationships/media" Target="../media/media4.mp4"/><Relationship Id="rId1" Type="http://schemas.openxmlformats.org/officeDocument/2006/relationships/video" Target="NULL" TargetMode="External"/><Relationship Id="rId6" Type="http://schemas.openxmlformats.org/officeDocument/2006/relationships/audio" Target="../media/media6.mp3"/><Relationship Id="rId11" Type="http://schemas.openxmlformats.org/officeDocument/2006/relationships/image" Target="../media/image3.png"/><Relationship Id="rId5" Type="http://schemas.microsoft.com/office/2007/relationships/media" Target="../media/media6.mp3"/><Relationship Id="rId10" Type="http://schemas.openxmlformats.org/officeDocument/2006/relationships/image" Target="../media/image9.jpeg"/><Relationship Id="rId4" Type="http://schemas.openxmlformats.org/officeDocument/2006/relationships/audio" Target="../media/media5.mp3"/><Relationship Id="rId9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video" Target="../media/media12.mp4"/><Relationship Id="rId13" Type="http://schemas.openxmlformats.org/officeDocument/2006/relationships/image" Target="../media/image13.png"/><Relationship Id="rId3" Type="http://schemas.microsoft.com/office/2007/relationships/media" Target="../media/media8.m4a"/><Relationship Id="rId7" Type="http://schemas.microsoft.com/office/2007/relationships/media" Target="../media/media12.mp4"/><Relationship Id="rId12" Type="http://schemas.openxmlformats.org/officeDocument/2006/relationships/image" Target="../media/image12.png"/><Relationship Id="rId2" Type="http://schemas.microsoft.com/office/2007/relationships/media" Target="../media/media7.m4a"/><Relationship Id="rId16" Type="http://schemas.openxmlformats.org/officeDocument/2006/relationships/image" Target="../media/image15.png"/><Relationship Id="rId1" Type="http://schemas.openxmlformats.org/officeDocument/2006/relationships/audio" Target="NULL" TargetMode="External"/><Relationship Id="rId6" Type="http://schemas.microsoft.com/office/2007/relationships/media" Target="../media/media11.m4a"/><Relationship Id="rId11" Type="http://schemas.openxmlformats.org/officeDocument/2006/relationships/image" Target="../media/image11.png"/><Relationship Id="rId5" Type="http://schemas.microsoft.com/office/2007/relationships/media" Target="../media/media10.m4a"/><Relationship Id="rId15" Type="http://schemas.openxmlformats.org/officeDocument/2006/relationships/image" Target="../media/image3.png"/><Relationship Id="rId10" Type="http://schemas.openxmlformats.org/officeDocument/2006/relationships/image" Target="../media/image10.png"/><Relationship Id="rId4" Type="http://schemas.microsoft.com/office/2007/relationships/media" Target="../media/media9.m4a"/><Relationship Id="rId9" Type="http://schemas.openxmlformats.org/officeDocument/2006/relationships/slideLayout" Target="../slideLayouts/slideLayout1.xml"/><Relationship Id="rId1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microsoft.com/office/2007/relationships/media" Target="../media/media13.m4a"/><Relationship Id="rId7" Type="http://schemas.openxmlformats.org/officeDocument/2006/relationships/image" Target="../media/image17.emf"/><Relationship Id="rId2" Type="http://schemas.openxmlformats.org/officeDocument/2006/relationships/audio" Target="NULL" TargetMode="External"/><Relationship Id="rId1" Type="http://schemas.openxmlformats.org/officeDocument/2006/relationships/tags" Target="../tags/tag1.xml"/><Relationship Id="rId6" Type="http://schemas.openxmlformats.org/officeDocument/2006/relationships/oleObject" Target="file:///D:\MegaDrive\&#1488;&#1497;&#1513;&#1497;\&#1488;&#1497;&#1513;&#1497;\ECOM%20-%20QA%20&#1511;&#1493;&#1512;&#1505;\&#1495;&#1493;&#1502;&#1512;&#1497;%20&#1500;&#1497;&#1502;&#1493;&#1491;\Meytal\&#1508;&#1512;&#1493;&#1497;&#1511;&#1496;%201%20-%20&#1488;&#1493;&#1505;&#1488;&#1502;&#1492;\PROJECT%20GITHUB\&#1492;&#1513;&#1497;&#1504;&#1493;&#1497;&#1497;&#1501;%20&#1513;&#1500;&#1497;\&#1490;&#1488;&#1504;&#1496;.xlsx!&#1504;&#1497;&#1492;&#1493;&#1500;%20&#1502;&#1495;&#1505;&#1503;%20&#1490;&#1488;&#1504;&#1496;!R1C2:R17C46" TargetMode="External"/><Relationship Id="rId5" Type="http://schemas.openxmlformats.org/officeDocument/2006/relationships/image" Target="../media/image16.jpeg"/><Relationship Id="rId4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microsoft.com/office/2007/relationships/media" Target="../media/media14.m4a"/><Relationship Id="rId7" Type="http://schemas.openxmlformats.org/officeDocument/2006/relationships/image" Target="../media/image19.jpeg"/><Relationship Id="rId2" Type="http://schemas.openxmlformats.org/officeDocument/2006/relationships/audio" Target="NULL" TargetMode="External"/><Relationship Id="rId1" Type="http://schemas.openxmlformats.org/officeDocument/2006/relationships/tags" Target="../tags/tag2.xml"/><Relationship Id="rId6" Type="http://schemas.openxmlformats.org/officeDocument/2006/relationships/image" Target="../media/image18.emf"/><Relationship Id="rId5" Type="http://schemas.openxmlformats.org/officeDocument/2006/relationships/oleObject" Target="file:///D:\MegaDrive\&#1488;&#1497;&#1513;&#1497;\&#1488;&#1497;&#1513;&#1497;\ECOM%20-%20QA%20&#1511;&#1493;&#1512;&#1505;\&#1495;&#1493;&#1502;&#1512;&#1497;%20&#1500;&#1497;&#1502;&#1493;&#1491;\Meytal\&#1508;&#1512;&#1493;&#1497;&#1511;&#1496;%201%20-%20&#1488;&#1493;&#1505;&#1488;&#1502;&#1492;\PROJECT%20GITHUB\&#1492;&#1513;&#1497;&#1504;&#1493;&#1497;&#1497;&#1501;%20&#1513;&#1500;&#1497;\&#1502;&#1505;&#1502;&#1498;%20&#1489;&#1491;&#1497;&#1511;&#1493;&#1514;%20STP.docx!OLE_LINK1" TargetMode="External"/><Relationship Id="rId4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13" Type="http://schemas.openxmlformats.org/officeDocument/2006/relationships/image" Target="../media/image23.jpeg"/><Relationship Id="rId3" Type="http://schemas.openxmlformats.org/officeDocument/2006/relationships/tags" Target="../tags/tag3.xml"/><Relationship Id="rId7" Type="http://schemas.openxmlformats.org/officeDocument/2006/relationships/oleObject" Target="file:///D:\MegaDrive\&#1488;&#1497;&#1513;&#1497;\&#1488;&#1497;&#1513;&#1497;\ECOM%20-%20QA%20&#1511;&#1493;&#1512;&#1505;\&#1495;&#1493;&#1502;&#1512;&#1497;%20&#1500;&#1497;&#1502;&#1493;&#1491;\Meytal\&#1508;&#1512;&#1493;&#1497;&#1511;&#1496;%201%20-%20&#1488;&#1493;&#1505;&#1488;&#1502;&#1492;\PROJECT%20GITHUB\&#1492;&#1513;&#1497;&#1504;&#1493;&#1497;&#1497;&#1501;%20&#1513;&#1500;&#1497;\&#1502;&#1505;&#1502;&#1498;%20&#1489;&#1491;&#1497;&#1511;&#1493;&#1514;%20STP.docx!OLE_LINK5" TargetMode="External"/><Relationship Id="rId12" Type="http://schemas.openxmlformats.org/officeDocument/2006/relationships/image" Target="../media/image22.emf"/><Relationship Id="rId2" Type="http://schemas.microsoft.com/office/2007/relationships/media" Target="../media/media15.m4a"/><Relationship Id="rId1" Type="http://schemas.openxmlformats.org/officeDocument/2006/relationships/audio" Target="NULL" TargetMode="External"/><Relationship Id="rId6" Type="http://schemas.openxmlformats.org/officeDocument/2006/relationships/slideLayout" Target="../slideLayouts/slideLayout1.xml"/><Relationship Id="rId11" Type="http://schemas.openxmlformats.org/officeDocument/2006/relationships/oleObject" Target="file:///D:\MegaDrive\&#1488;&#1497;&#1513;&#1497;\&#1488;&#1497;&#1513;&#1497;\ECOM%20-%20QA%20&#1511;&#1493;&#1512;&#1505;\&#1495;&#1493;&#1502;&#1512;&#1497;%20&#1500;&#1497;&#1502;&#1493;&#1491;\Meytal\&#1508;&#1512;&#1493;&#1497;&#1511;&#1496;%201%20-%20&#1488;&#1493;&#1505;&#1488;&#1502;&#1492;\PROJECT%20GITHUB\&#1492;&#1513;&#1497;&#1504;&#1493;&#1497;&#1497;&#1501;%20&#1513;&#1500;&#1497;\&#1502;&#1505;&#1502;&#1498;%20&#1489;&#1491;&#1497;&#1511;&#1493;&#1514;%20STP.docx!OLE_LINK7" TargetMode="External"/><Relationship Id="rId5" Type="http://schemas.openxmlformats.org/officeDocument/2006/relationships/tags" Target="../tags/tag5.xml"/><Relationship Id="rId10" Type="http://schemas.openxmlformats.org/officeDocument/2006/relationships/image" Target="../media/image21.emf"/><Relationship Id="rId4" Type="http://schemas.openxmlformats.org/officeDocument/2006/relationships/tags" Target="../tags/tag4.xml"/><Relationship Id="rId9" Type="http://schemas.openxmlformats.org/officeDocument/2006/relationships/oleObject" Target="file:///D:\MegaDrive\&#1488;&#1497;&#1513;&#1497;\&#1488;&#1497;&#1513;&#1497;\ECOM%20-%20QA%20&#1511;&#1493;&#1512;&#1505;\&#1495;&#1493;&#1502;&#1512;&#1497;%20&#1500;&#1497;&#1502;&#1493;&#1491;\Meytal\&#1508;&#1512;&#1493;&#1497;&#1511;&#1496;%201%20-%20&#1488;&#1493;&#1505;&#1488;&#1502;&#1492;\PROJECT%20GITHUB\&#1492;&#1513;&#1497;&#1504;&#1493;&#1497;&#1497;&#1501;%20&#1513;&#1500;&#1497;\&#1502;&#1505;&#1502;&#1498;%20&#1489;&#1491;&#1497;&#1511;&#1493;&#1514;%20STP.docx!OLE_LINK6" TargetMode="External"/><Relationship Id="rId14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microsoft.com/office/2007/relationships/hdphoto" Target="../media/hdphoto1.wdp"/><Relationship Id="rId3" Type="http://schemas.microsoft.com/office/2007/relationships/media" Target="../media/media17.m4a"/><Relationship Id="rId7" Type="http://schemas.openxmlformats.org/officeDocument/2006/relationships/image" Target="../media/image24.png"/><Relationship Id="rId12" Type="http://schemas.openxmlformats.org/officeDocument/2006/relationships/image" Target="../media/image29.png"/><Relationship Id="rId2" Type="http://schemas.microsoft.com/office/2007/relationships/media" Target="../media/media16.m4a"/><Relationship Id="rId16" Type="http://schemas.openxmlformats.org/officeDocument/2006/relationships/image" Target="../media/image31.png"/><Relationship Id="rId1" Type="http://schemas.openxmlformats.org/officeDocument/2006/relationships/audio" Target="NULL" TargetMode="External"/><Relationship Id="rId6" Type="http://schemas.openxmlformats.org/officeDocument/2006/relationships/slideLayout" Target="../slideLayouts/slideLayout1.xml"/><Relationship Id="rId11" Type="http://schemas.openxmlformats.org/officeDocument/2006/relationships/image" Target="../media/image28.png"/><Relationship Id="rId5" Type="http://schemas.openxmlformats.org/officeDocument/2006/relationships/video" Target="../media/media18.mp4"/><Relationship Id="rId15" Type="http://schemas.openxmlformats.org/officeDocument/2006/relationships/image" Target="../media/image3.png"/><Relationship Id="rId10" Type="http://schemas.openxmlformats.org/officeDocument/2006/relationships/image" Target="../media/image27.png"/><Relationship Id="rId4" Type="http://schemas.microsoft.com/office/2007/relationships/media" Target="../media/media18.mp4"/><Relationship Id="rId9" Type="http://schemas.openxmlformats.org/officeDocument/2006/relationships/image" Target="../media/image26.png"/><Relationship Id="rId14" Type="http://schemas.openxmlformats.org/officeDocument/2006/relationships/image" Target="../media/image30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microsoft.com/office/2007/relationships/media" Target="../media/media20.m4a"/><Relationship Id="rId7" Type="http://schemas.openxmlformats.org/officeDocument/2006/relationships/image" Target="../media/image32.png"/><Relationship Id="rId12" Type="http://schemas.openxmlformats.org/officeDocument/2006/relationships/image" Target="../media/image36.png"/><Relationship Id="rId2" Type="http://schemas.microsoft.com/office/2007/relationships/media" Target="../media/media19.m4a"/><Relationship Id="rId1" Type="http://schemas.openxmlformats.org/officeDocument/2006/relationships/audio" Target="NULL" TargetMode="External"/><Relationship Id="rId6" Type="http://schemas.openxmlformats.org/officeDocument/2006/relationships/slideLayout" Target="../slideLayouts/slideLayout1.xml"/><Relationship Id="rId11" Type="http://schemas.openxmlformats.org/officeDocument/2006/relationships/image" Target="../media/image3.png"/><Relationship Id="rId5" Type="http://schemas.openxmlformats.org/officeDocument/2006/relationships/video" Target="../media/media21.mp4"/><Relationship Id="rId10" Type="http://schemas.openxmlformats.org/officeDocument/2006/relationships/image" Target="../media/image35.jpeg"/><Relationship Id="rId4" Type="http://schemas.microsoft.com/office/2007/relationships/media" Target="../media/media21.mp4"/><Relationship Id="rId9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100000">
              <a:srgbClr val="FEF4D5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103" name="Rectangle 4102">
            <a:extLst>
              <a:ext uri="{FF2B5EF4-FFF2-40B4-BE49-F238E27FC236}">
                <a16:creationId xmlns:a16="http://schemas.microsoft.com/office/drawing/2014/main" id="{AAAE94E3-A7DB-4868-B1E3-E49703488B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תיבת טקסט 5">
            <a:extLst>
              <a:ext uri="{FF2B5EF4-FFF2-40B4-BE49-F238E27FC236}">
                <a16:creationId xmlns:a16="http://schemas.microsoft.com/office/drawing/2014/main" id="{FF888302-1D5D-D44C-80C7-6C6D60DEBBBC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589377" y="856180"/>
            <a:ext cx="5279408" cy="1128068"/>
          </a:xfrm>
          <a:prstGeom prst="rect">
            <a:avLst/>
          </a:prstGeom>
        </p:spPr>
        <p:txBody>
          <a:bodyPr rtlCol="1" anchor="ctr">
            <a:normAutofit/>
          </a:bodyPr>
          <a:lstStyle/>
          <a:p>
            <a:pPr algn="ctr">
              <a:spcAft>
                <a:spcPts val="600"/>
              </a:spcAft>
            </a:pPr>
            <a:r>
              <a:rPr lang="he-IL" sz="4000" b="1" spc="600" dirty="0">
                <a:ln w="12700">
                  <a:solidFill>
                    <a:srgbClr val="002060"/>
                  </a:solidFill>
                </a:ln>
                <a:latin typeface="David" panose="020E0502060401010101" pitchFamily="34" charset="-79"/>
                <a:cs typeface="David" panose="020E0502060401010101" pitchFamily="34" charset="-79"/>
              </a:rPr>
              <a:t>פרויקט ניהול מחסן </a:t>
            </a:r>
          </a:p>
        </p:txBody>
      </p:sp>
      <p:grpSp>
        <p:nvGrpSpPr>
          <p:cNvPr id="4105" name="Group 4104">
            <a:extLst>
              <a:ext uri="{FF2B5EF4-FFF2-40B4-BE49-F238E27FC236}">
                <a16:creationId xmlns:a16="http://schemas.microsoft.com/office/drawing/2014/main" id="{1DE889C7-FAD6-4397-98E2-05D5034844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1083484"/>
            <a:ext cx="355196" cy="673460"/>
            <a:chOff x="0" y="823811"/>
            <a:chExt cx="355196" cy="673460"/>
          </a:xfrm>
        </p:grpSpPr>
        <p:sp>
          <p:nvSpPr>
            <p:cNvPr id="4106" name="Rectangle 4105">
              <a:extLst>
                <a:ext uri="{FF2B5EF4-FFF2-40B4-BE49-F238E27FC236}">
                  <a16:creationId xmlns:a16="http://schemas.microsoft.com/office/drawing/2014/main" id="{F399A70F-F8CD-4992-9EF5-6CF15472E73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823811"/>
              <a:ext cx="87363" cy="67346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07" name="Rectangle 4106">
              <a:extLst>
                <a:ext uri="{FF2B5EF4-FFF2-40B4-BE49-F238E27FC236}">
                  <a16:creationId xmlns:a16="http://schemas.microsoft.com/office/drawing/2014/main" id="{48F4FEDC-6D80-458C-A665-075D9B9500F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59341" y="823811"/>
              <a:ext cx="195855" cy="67346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109" name="Rectangle 4108">
            <a:extLst>
              <a:ext uri="{FF2B5EF4-FFF2-40B4-BE49-F238E27FC236}">
                <a16:creationId xmlns:a16="http://schemas.microsoft.com/office/drawing/2014/main" id="{3873B707-463F-40B0-8227-E8CC6C67EB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665085" y="2123821"/>
            <a:ext cx="4975066" cy="2743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תיבת טקסט 10">
            <a:extLst>
              <a:ext uri="{FF2B5EF4-FFF2-40B4-BE49-F238E27FC236}">
                <a16:creationId xmlns:a16="http://schemas.microsoft.com/office/drawing/2014/main" id="{72214E2F-3F60-0548-BAF5-15789501043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901953" y="3281034"/>
            <a:ext cx="3966832" cy="2400437"/>
          </a:xfrm>
          <a:prstGeom prst="rect">
            <a:avLst/>
          </a:prstGeom>
        </p:spPr>
        <p:txBody>
          <a:bodyPr rtlCol="1" anchor="ctr">
            <a:normAutofit/>
          </a:bodyPr>
          <a:lstStyle>
            <a:defPPr>
              <a:defRPr lang="he-IL"/>
            </a:defPPr>
            <a:lvl1pPr>
              <a:spcAft>
                <a:spcPts val="600"/>
              </a:spcAft>
              <a:defRPr sz="4000" b="1">
                <a:ln w="12700">
                  <a:solidFill>
                    <a:srgbClr val="002060"/>
                  </a:solidFill>
                </a:ln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sz="2800" spc="300" dirty="0">
                <a:solidFill>
                  <a:srgbClr val="996C3F"/>
                </a:solidFill>
              </a:rPr>
              <a:t>מנהל פרויקט – </a:t>
            </a:r>
            <a:r>
              <a:rPr lang="he-IL" sz="2800" dirty="0">
                <a:solidFill>
                  <a:srgbClr val="996C3F"/>
                </a:solidFill>
              </a:rPr>
              <a:t>אוסאמה </a:t>
            </a:r>
          </a:p>
          <a:p>
            <a:r>
              <a:rPr lang="he-IL" sz="2800" spc="300" dirty="0">
                <a:solidFill>
                  <a:srgbClr val="996C3F"/>
                </a:solidFill>
              </a:rPr>
              <a:t>צוות בדיקה </a:t>
            </a:r>
            <a:r>
              <a:rPr lang="he-IL" sz="2800" dirty="0">
                <a:solidFill>
                  <a:srgbClr val="996C3F"/>
                </a:solidFill>
              </a:rPr>
              <a:t>- </a:t>
            </a:r>
          </a:p>
          <a:p>
            <a:r>
              <a:rPr lang="he-IL" sz="2800" dirty="0">
                <a:solidFill>
                  <a:srgbClr val="996C3F"/>
                </a:solidFill>
              </a:rPr>
              <a:t>		</a:t>
            </a:r>
            <a:r>
              <a:rPr lang="en-US" sz="2800" dirty="0">
                <a:solidFill>
                  <a:srgbClr val="996C3F"/>
                </a:solidFill>
              </a:rPr>
              <a:t>	</a:t>
            </a:r>
            <a:r>
              <a:rPr lang="he-IL" sz="2800" dirty="0">
                <a:solidFill>
                  <a:srgbClr val="996C3F"/>
                </a:solidFill>
              </a:rPr>
              <a:t>גיא </a:t>
            </a:r>
          </a:p>
          <a:p>
            <a:r>
              <a:rPr lang="he-IL" sz="2800" dirty="0">
                <a:solidFill>
                  <a:srgbClr val="996C3F"/>
                </a:solidFill>
              </a:rPr>
              <a:t>		</a:t>
            </a:r>
            <a:r>
              <a:rPr lang="en-US" sz="2800" dirty="0">
                <a:solidFill>
                  <a:srgbClr val="996C3F"/>
                </a:solidFill>
              </a:rPr>
              <a:t>	</a:t>
            </a:r>
            <a:r>
              <a:rPr lang="he-IL" sz="2800" dirty="0">
                <a:solidFill>
                  <a:srgbClr val="996C3F"/>
                </a:solidFill>
              </a:rPr>
              <a:t>סופי </a:t>
            </a:r>
          </a:p>
        </p:txBody>
      </p:sp>
      <p:sp>
        <p:nvSpPr>
          <p:cNvPr id="4111" name="Rectangle 4110">
            <a:extLst>
              <a:ext uri="{FF2B5EF4-FFF2-40B4-BE49-F238E27FC236}">
                <a16:creationId xmlns:a16="http://schemas.microsoft.com/office/drawing/2014/main" id="{C13237C8-E62C-4F0D-A318-BD6FB6C2D1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0697670" y="0"/>
            <a:ext cx="149433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13" name="Rectangle: Rounded Corners 4112">
            <a:extLst>
              <a:ext uri="{FF2B5EF4-FFF2-40B4-BE49-F238E27FC236}">
                <a16:creationId xmlns:a16="http://schemas.microsoft.com/office/drawing/2014/main" id="{19C9EAEA-39D0-4B0E-A0EB-51E7B26740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849687" y="357447"/>
            <a:ext cx="4845488" cy="2923587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8+ Thousand Software Testing Banner Royalty-Free Images, Stock Photos &amp;  Pictures | Shutterstock">
            <a:extLst>
              <a:ext uri="{FF2B5EF4-FFF2-40B4-BE49-F238E27FC236}">
                <a16:creationId xmlns:a16="http://schemas.microsoft.com/office/drawing/2014/main" id="{BE42DE48-65B1-D252-E9DB-373186A09CA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3" r="6904" b="-1"/>
          <a:stretch/>
        </p:blipFill>
        <p:spPr bwMode="auto">
          <a:xfrm>
            <a:off x="7083423" y="1019200"/>
            <a:ext cx="4397433" cy="1644139"/>
          </a:xfrm>
          <a:prstGeom prst="rect">
            <a:avLst/>
          </a:prstGeom>
          <a:solidFill>
            <a:srgbClr val="FFFFFF">
              <a:shade val="85000"/>
            </a:srgbClr>
          </a:solidFill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4115" name="Rectangle: Rounded Corners 4114">
            <a:extLst>
              <a:ext uri="{FF2B5EF4-FFF2-40B4-BE49-F238E27FC236}">
                <a16:creationId xmlns:a16="http://schemas.microsoft.com/office/drawing/2014/main" id="{8CB5D2D7-DF65-4E86-BFBA-FFB9B5ACEB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849687" y="3505479"/>
            <a:ext cx="4845488" cy="2923587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098" name="Picture 2" descr="Warehouse PowerPoint Templates - Warehouse PowerPoint Backgrounds, Templates  for PowerPoint, Presentation Templates, PowerPoint Themes">
            <a:extLst>
              <a:ext uri="{FF2B5EF4-FFF2-40B4-BE49-F238E27FC236}">
                <a16:creationId xmlns:a16="http://schemas.microsoft.com/office/drawing/2014/main" id="{CC33EF91-6D17-0647-D843-99DCB1615EB9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839"/>
          <a:stretch/>
        </p:blipFill>
        <p:spPr bwMode="auto">
          <a:xfrm>
            <a:off x="7275676" y="3749459"/>
            <a:ext cx="3997519" cy="246015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1">
            <a:hlinkClick r:id="" action="ppaction://media"/>
            <a:extLst>
              <a:ext uri="{FF2B5EF4-FFF2-40B4-BE49-F238E27FC236}">
                <a16:creationId xmlns:a16="http://schemas.microsoft.com/office/drawing/2014/main" id="{1453F901-62B5-175F-8A0D-678F27FD1873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358775" y="7292975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753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8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8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8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1" dur="2808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12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3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4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4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30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  <p:bldLst>
      <p:bldP spid="6" grpId="0"/>
      <p:bldP spid="11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51000">
              <a:schemeClr val="accent4">
                <a:lumMod val="5000"/>
                <a:lumOff val="95000"/>
              </a:schemeClr>
            </a:gs>
            <a:gs pos="0">
              <a:srgbClr val="D1D5D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Warehouse Performance Powerpoint Ppt Template Bundles PPT PowerPoint">
            <a:extLst>
              <a:ext uri="{FF2B5EF4-FFF2-40B4-BE49-F238E27FC236}">
                <a16:creationId xmlns:a16="http://schemas.microsoft.com/office/drawing/2014/main" id="{52ADEC73-4E8C-CEE7-D17E-4E810D6F8C8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63" t="17455" r="42565" b="8122"/>
          <a:stretch/>
        </p:blipFill>
        <p:spPr bwMode="auto">
          <a:xfrm>
            <a:off x="838200" y="937746"/>
            <a:ext cx="3828169" cy="2936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752284" y="-202959"/>
            <a:ext cx="7031182" cy="1505883"/>
          </a:xfrm>
          <a:prstGeom prst="rect">
            <a:avLst/>
          </a:prstGeom>
        </p:spPr>
        <p:txBody>
          <a:bodyPr spcFirstLastPara="1" numCol="1" rtlCol="1" anchor="b">
            <a:prstTxWarp prst="textArchDown">
              <a:avLst>
                <a:gd name="adj" fmla="val 28012"/>
              </a:avLst>
            </a:prstTxWarp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5400" b="1" spc="800">
                <a:ln w="12700">
                  <a:solidFill>
                    <a:srgbClr val="444346"/>
                  </a:solidFill>
                </a:ln>
                <a:solidFill>
                  <a:srgbClr val="017D76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dirty="0">
                <a:solidFill>
                  <a:srgbClr val="A58728"/>
                </a:solidFill>
              </a:rPr>
              <a:t>ממשקים פנימיים וחיצוניים</a:t>
            </a:r>
          </a:p>
        </p:txBody>
      </p:sp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AF119380-70B2-925F-CD7C-72906526C8E5}"/>
              </a:ext>
            </a:extLst>
          </p:cNvPr>
          <p:cNvGraphicFramePr>
            <a:graphicFrameLocks noGrp="1" noDrilldown="1" noChangeAspect="1" noMove="1" noResize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0762301"/>
              </p:ext>
            </p:extLst>
          </p:nvPr>
        </p:nvGraphicFramePr>
        <p:xfrm>
          <a:off x="5349875" y="1588294"/>
          <a:ext cx="6164263" cy="26860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r:id="rId7" imgW="6164722" imgH="2685698" progId="Word.Document.12">
                  <p:link updateAutomatic="1"/>
                </p:oleObj>
              </mc:Choice>
              <mc:Fallback>
                <p:oleObj name="Document" r:id="rId7" imgW="6164722" imgH="2685698" progId="Word.Documen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5349875" y="1588294"/>
                        <a:ext cx="6164263" cy="26860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0886D823-507A-F2DC-D138-EDB174CC9064}"/>
              </a:ext>
            </a:extLst>
          </p:cNvPr>
          <p:cNvGraphicFramePr>
            <a:graphicFrameLocks noGrp="1" noDrilldown="1" noChangeAspect="1" noMove="1" noResize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6470233"/>
              </p:ext>
            </p:extLst>
          </p:nvPr>
        </p:nvGraphicFramePr>
        <p:xfrm>
          <a:off x="838200" y="4141450"/>
          <a:ext cx="6164263" cy="25368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r:id="rId9" imgW="6164722" imgH="2537514" progId="Word.Document.12">
                  <p:link updateAutomatic="1"/>
                </p:oleObj>
              </mc:Choice>
              <mc:Fallback>
                <p:oleObj name="Document" r:id="rId9" imgW="6164722" imgH="2537514" progId="Word.Documen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838200" y="4141450"/>
                        <a:ext cx="6164263" cy="25368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Recording">
            <a:hlinkClick r:id="" action="ppaction://media"/>
            <a:extLst>
              <a:ext uri="{FF2B5EF4-FFF2-40B4-BE49-F238E27FC236}">
                <a16:creationId xmlns:a16="http://schemas.microsoft.com/office/drawing/2014/main" id="{8694D7D9-66B0-40DB-4FFF-E6148A35CA33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4">
                  <p14:trim st="2288" end="900.6458"/>
                </p14:media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701675" y="7889875"/>
            <a:ext cx="531813" cy="531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4611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36836 -0.21412 L -1.25E-6 1.82146E-17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51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424" y="10972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7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8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0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1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2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3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4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5" presetID="1" presetClass="mediacall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cmd type="call" cmd="playFrom(0.0)">
                                      <p:cBhvr>
                                        <p:cTn id="26" dur="2422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3100"/>
                            </p:stCondLst>
                            <p:childTnLst>
                              <p:par>
                                <p:cTn id="2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100"/>
                            </p:stCondLst>
                            <p:childTnLst>
                              <p:par>
                                <p:cTn id="31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43828 -0.42755 L 3.54167E-6 3.7037E-6 " pathEditMode="relative" rAng="0" ptsTypes="AA">
                                      <p:cBhvr>
                                        <p:cTn id="32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1914" y="2136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5100"/>
                            </p:stCondLst>
                            <p:childTnLst>
                              <p:par>
                                <p:cTn id="3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100"/>
                            </p:stCondLst>
                            <p:childTnLst>
                              <p:par>
                                <p:cTn id="37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375E-6 1.11111E-6 L 0.00274 0.49282 " pathEditMode="relative" rAng="0" ptsTypes="AA">
                                      <p:cBhvr>
                                        <p:cTn id="38" dur="20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0" y="2463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39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  <p:bldLst>
      <p:bldP spid="1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35000">
              <a:schemeClr val="accent4">
                <a:lumMod val="5000"/>
                <a:lumOff val="95000"/>
              </a:schemeClr>
            </a:gs>
            <a:gs pos="0">
              <a:srgbClr val="D1D5DF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0E91F5CA-B392-444C-88E3-BF5BAAEBDE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DFCA2118-59A2-4310-A4B2-F2CBA821E8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4940492"/>
            <a:ext cx="12192000" cy="1924333"/>
          </a:xfrm>
          <a:custGeom>
            <a:avLst/>
            <a:gdLst>
              <a:gd name="connsiteX0" fmla="*/ 6189199 w 12192000"/>
              <a:gd name="connsiteY0" fmla="*/ 588 h 1924333"/>
              <a:gd name="connsiteX1" fmla="*/ 6207079 w 12192000"/>
              <a:gd name="connsiteY1" fmla="*/ 2850 h 1924333"/>
              <a:gd name="connsiteX2" fmla="*/ 6285610 w 12192000"/>
              <a:gd name="connsiteY2" fmla="*/ 18131 h 1924333"/>
              <a:gd name="connsiteX3" fmla="*/ 6378008 w 12192000"/>
              <a:gd name="connsiteY3" fmla="*/ 24625 h 1924333"/>
              <a:gd name="connsiteX4" fmla="*/ 6466340 w 12192000"/>
              <a:gd name="connsiteY4" fmla="*/ 21366 h 1924333"/>
              <a:gd name="connsiteX5" fmla="*/ 6553334 w 12192000"/>
              <a:gd name="connsiteY5" fmla="*/ 35307 h 1924333"/>
              <a:gd name="connsiteX6" fmla="*/ 6626068 w 12192000"/>
              <a:gd name="connsiteY6" fmla="*/ 58045 h 1924333"/>
              <a:gd name="connsiteX7" fmla="*/ 6692303 w 12192000"/>
              <a:gd name="connsiteY7" fmla="*/ 91487 h 1924333"/>
              <a:gd name="connsiteX8" fmla="*/ 6733670 w 12192000"/>
              <a:gd name="connsiteY8" fmla="*/ 118130 h 1924333"/>
              <a:gd name="connsiteX9" fmla="*/ 6798016 w 12192000"/>
              <a:gd name="connsiteY9" fmla="*/ 112271 h 1924333"/>
              <a:gd name="connsiteX10" fmla="*/ 6801081 w 12192000"/>
              <a:gd name="connsiteY10" fmla="*/ 114963 h 1924333"/>
              <a:gd name="connsiteX11" fmla="*/ 6819351 w 12192000"/>
              <a:gd name="connsiteY11" fmla="*/ 128825 h 1924333"/>
              <a:gd name="connsiteX12" fmla="*/ 6852732 w 12192000"/>
              <a:gd name="connsiteY12" fmla="*/ 123321 h 1924333"/>
              <a:gd name="connsiteX13" fmla="*/ 6865247 w 12192000"/>
              <a:gd name="connsiteY13" fmla="*/ 128836 h 1924333"/>
              <a:gd name="connsiteX14" fmla="*/ 6905517 w 12192000"/>
              <a:gd name="connsiteY14" fmla="*/ 129265 h 1924333"/>
              <a:gd name="connsiteX15" fmla="*/ 6950286 w 12192000"/>
              <a:gd name="connsiteY15" fmla="*/ 150104 h 1924333"/>
              <a:gd name="connsiteX16" fmla="*/ 7003442 w 12192000"/>
              <a:gd name="connsiteY16" fmla="*/ 136136 h 1924333"/>
              <a:gd name="connsiteX17" fmla="*/ 7160047 w 12192000"/>
              <a:gd name="connsiteY17" fmla="*/ 166721 h 1924333"/>
              <a:gd name="connsiteX18" fmla="*/ 7325604 w 12192000"/>
              <a:gd name="connsiteY18" fmla="*/ 215867 h 1924333"/>
              <a:gd name="connsiteX19" fmla="*/ 7540522 w 12192000"/>
              <a:gd name="connsiteY19" fmla="*/ 239374 h 1924333"/>
              <a:gd name="connsiteX20" fmla="*/ 7612071 w 12192000"/>
              <a:gd name="connsiteY20" fmla="*/ 229553 h 1924333"/>
              <a:gd name="connsiteX21" fmla="*/ 7651995 w 12192000"/>
              <a:gd name="connsiteY21" fmla="*/ 244567 h 1924333"/>
              <a:gd name="connsiteX22" fmla="*/ 7725761 w 12192000"/>
              <a:gd name="connsiteY22" fmla="*/ 258638 h 1924333"/>
              <a:gd name="connsiteX23" fmla="*/ 7823038 w 12192000"/>
              <a:gd name="connsiteY23" fmla="*/ 287078 h 1924333"/>
              <a:gd name="connsiteX24" fmla="*/ 7866405 w 12192000"/>
              <a:gd name="connsiteY24" fmla="*/ 287288 h 1924333"/>
              <a:gd name="connsiteX25" fmla="*/ 7875021 w 12192000"/>
              <a:gd name="connsiteY25" fmla="*/ 288224 h 1924333"/>
              <a:gd name="connsiteX26" fmla="*/ 7875146 w 12192000"/>
              <a:gd name="connsiteY26" fmla="*/ 288614 h 1924333"/>
              <a:gd name="connsiteX27" fmla="*/ 7907443 w 12192000"/>
              <a:gd name="connsiteY27" fmla="*/ 291752 h 1924333"/>
              <a:gd name="connsiteX28" fmla="*/ 7912892 w 12192000"/>
              <a:gd name="connsiteY28" fmla="*/ 294833 h 1924333"/>
              <a:gd name="connsiteX29" fmla="*/ 7946345 w 12192000"/>
              <a:gd name="connsiteY29" fmla="*/ 319359 h 1924333"/>
              <a:gd name="connsiteX30" fmla="*/ 8021238 w 12192000"/>
              <a:gd name="connsiteY30" fmla="*/ 315159 h 1924333"/>
              <a:gd name="connsiteX31" fmla="*/ 8094697 w 12192000"/>
              <a:gd name="connsiteY31" fmla="*/ 351819 h 1924333"/>
              <a:gd name="connsiteX32" fmla="*/ 8155208 w 12192000"/>
              <a:gd name="connsiteY32" fmla="*/ 371168 h 1924333"/>
              <a:gd name="connsiteX33" fmla="*/ 8248472 w 12192000"/>
              <a:gd name="connsiteY33" fmla="*/ 400489 h 1924333"/>
              <a:gd name="connsiteX34" fmla="*/ 8300068 w 12192000"/>
              <a:gd name="connsiteY34" fmla="*/ 405531 h 1924333"/>
              <a:gd name="connsiteX35" fmla="*/ 8356293 w 12192000"/>
              <a:gd name="connsiteY35" fmla="*/ 403328 h 1924333"/>
              <a:gd name="connsiteX36" fmla="*/ 8475838 w 12192000"/>
              <a:gd name="connsiteY36" fmla="*/ 435524 h 1924333"/>
              <a:gd name="connsiteX37" fmla="*/ 8575216 w 12192000"/>
              <a:gd name="connsiteY37" fmla="*/ 450198 h 1924333"/>
              <a:gd name="connsiteX38" fmla="*/ 8588650 w 12192000"/>
              <a:gd name="connsiteY38" fmla="*/ 447070 h 1924333"/>
              <a:gd name="connsiteX39" fmla="*/ 8612184 w 12192000"/>
              <a:gd name="connsiteY39" fmla="*/ 439577 h 1924333"/>
              <a:gd name="connsiteX40" fmla="*/ 8630713 w 12192000"/>
              <a:gd name="connsiteY40" fmla="*/ 433015 h 1924333"/>
              <a:gd name="connsiteX41" fmla="*/ 8704240 w 12192000"/>
              <a:gd name="connsiteY41" fmla="*/ 422865 h 1924333"/>
              <a:gd name="connsiteX42" fmla="*/ 8829513 w 12192000"/>
              <a:gd name="connsiteY42" fmla="*/ 429389 h 1924333"/>
              <a:gd name="connsiteX43" fmla="*/ 9083651 w 12192000"/>
              <a:gd name="connsiteY43" fmla="*/ 390744 h 1924333"/>
              <a:gd name="connsiteX44" fmla="*/ 9371402 w 12192000"/>
              <a:gd name="connsiteY44" fmla="*/ 371809 h 1924333"/>
              <a:gd name="connsiteX45" fmla="*/ 9429586 w 12192000"/>
              <a:gd name="connsiteY45" fmla="*/ 369213 h 1924333"/>
              <a:gd name="connsiteX46" fmla="*/ 9489757 w 12192000"/>
              <a:gd name="connsiteY46" fmla="*/ 377814 h 1924333"/>
              <a:gd name="connsiteX47" fmla="*/ 9516954 w 12192000"/>
              <a:gd name="connsiteY47" fmla="*/ 376991 h 1924333"/>
              <a:gd name="connsiteX48" fmla="*/ 9645588 w 12192000"/>
              <a:gd name="connsiteY48" fmla="*/ 363590 h 1924333"/>
              <a:gd name="connsiteX49" fmla="*/ 9722896 w 12192000"/>
              <a:gd name="connsiteY49" fmla="*/ 360983 h 1924333"/>
              <a:gd name="connsiteX50" fmla="*/ 9752803 w 12192000"/>
              <a:gd name="connsiteY50" fmla="*/ 368492 h 1924333"/>
              <a:gd name="connsiteX51" fmla="*/ 9890305 w 12192000"/>
              <a:gd name="connsiteY51" fmla="*/ 380736 h 1924333"/>
              <a:gd name="connsiteX52" fmla="*/ 9939767 w 12192000"/>
              <a:gd name="connsiteY52" fmla="*/ 377776 h 1924333"/>
              <a:gd name="connsiteX53" fmla="*/ 9944355 w 12192000"/>
              <a:gd name="connsiteY53" fmla="*/ 377352 h 1924333"/>
              <a:gd name="connsiteX54" fmla="*/ 9953719 w 12192000"/>
              <a:gd name="connsiteY54" fmla="*/ 375642 h 1924333"/>
              <a:gd name="connsiteX55" fmla="*/ 9955809 w 12192000"/>
              <a:gd name="connsiteY55" fmla="*/ 376294 h 1924333"/>
              <a:gd name="connsiteX56" fmla="*/ 10032710 w 12192000"/>
              <a:gd name="connsiteY56" fmla="*/ 394940 h 1924333"/>
              <a:gd name="connsiteX57" fmla="*/ 10049925 w 12192000"/>
              <a:gd name="connsiteY57" fmla="*/ 404971 h 1924333"/>
              <a:gd name="connsiteX58" fmla="*/ 10112671 w 12192000"/>
              <a:gd name="connsiteY58" fmla="*/ 414549 h 1924333"/>
              <a:gd name="connsiteX59" fmla="*/ 10170853 w 12192000"/>
              <a:gd name="connsiteY59" fmla="*/ 435168 h 1924333"/>
              <a:gd name="connsiteX60" fmla="*/ 10290184 w 12192000"/>
              <a:gd name="connsiteY60" fmla="*/ 448123 h 1924333"/>
              <a:gd name="connsiteX61" fmla="*/ 10320158 w 12192000"/>
              <a:gd name="connsiteY61" fmla="*/ 458352 h 1924333"/>
              <a:gd name="connsiteX62" fmla="*/ 10321815 w 12192000"/>
              <a:gd name="connsiteY62" fmla="*/ 463087 h 1924333"/>
              <a:gd name="connsiteX63" fmla="*/ 10373742 w 12192000"/>
              <a:gd name="connsiteY63" fmla="*/ 464538 h 1924333"/>
              <a:gd name="connsiteX64" fmla="*/ 10428532 w 12192000"/>
              <a:gd name="connsiteY64" fmla="*/ 492504 h 1924333"/>
              <a:gd name="connsiteX65" fmla="*/ 10466490 w 12192000"/>
              <a:gd name="connsiteY65" fmla="*/ 517759 h 1924333"/>
              <a:gd name="connsiteX66" fmla="*/ 10466675 w 12192000"/>
              <a:gd name="connsiteY66" fmla="*/ 522076 h 1924333"/>
              <a:gd name="connsiteX67" fmla="*/ 10470309 w 12192000"/>
              <a:gd name="connsiteY67" fmla="*/ 522792 h 1924333"/>
              <a:gd name="connsiteX68" fmla="*/ 10474138 w 12192000"/>
              <a:gd name="connsiteY68" fmla="*/ 519761 h 1924333"/>
              <a:gd name="connsiteX69" fmla="*/ 10501100 w 12192000"/>
              <a:gd name="connsiteY69" fmla="*/ 528263 h 1924333"/>
              <a:gd name="connsiteX70" fmla="*/ 10502395 w 12192000"/>
              <a:gd name="connsiteY70" fmla="*/ 536393 h 1924333"/>
              <a:gd name="connsiteX71" fmla="*/ 10689496 w 12192000"/>
              <a:gd name="connsiteY71" fmla="*/ 560233 h 1924333"/>
              <a:gd name="connsiteX72" fmla="*/ 10788736 w 12192000"/>
              <a:gd name="connsiteY72" fmla="*/ 613188 h 1924333"/>
              <a:gd name="connsiteX73" fmla="*/ 10819747 w 12192000"/>
              <a:gd name="connsiteY73" fmla="*/ 621351 h 1924333"/>
              <a:gd name="connsiteX74" fmla="*/ 10864632 w 12192000"/>
              <a:gd name="connsiteY74" fmla="*/ 644858 h 1924333"/>
              <a:gd name="connsiteX75" fmla="*/ 10929407 w 12192000"/>
              <a:gd name="connsiteY75" fmla="*/ 652945 h 1924333"/>
              <a:gd name="connsiteX76" fmla="*/ 10979412 w 12192000"/>
              <a:gd name="connsiteY76" fmla="*/ 654217 h 1924333"/>
              <a:gd name="connsiteX77" fmla="*/ 11006959 w 12192000"/>
              <a:gd name="connsiteY77" fmla="*/ 657017 h 1924333"/>
              <a:gd name="connsiteX78" fmla="*/ 11077038 w 12192000"/>
              <a:gd name="connsiteY78" fmla="*/ 668487 h 1924333"/>
              <a:gd name="connsiteX79" fmla="*/ 11157850 w 12192000"/>
              <a:gd name="connsiteY79" fmla="*/ 693164 h 1924333"/>
              <a:gd name="connsiteX80" fmla="*/ 11175276 w 12192000"/>
              <a:gd name="connsiteY80" fmla="*/ 697243 h 1924333"/>
              <a:gd name="connsiteX81" fmla="*/ 11191131 w 12192000"/>
              <a:gd name="connsiteY81" fmla="*/ 696085 h 1924333"/>
              <a:gd name="connsiteX82" fmla="*/ 11195573 w 12192000"/>
              <a:gd name="connsiteY82" fmla="*/ 691751 h 1924333"/>
              <a:gd name="connsiteX83" fmla="*/ 11205299 w 12192000"/>
              <a:gd name="connsiteY83" fmla="*/ 693247 h 1924333"/>
              <a:gd name="connsiteX84" fmla="*/ 11223770 w 12192000"/>
              <a:gd name="connsiteY84" fmla="*/ 690335 h 1924333"/>
              <a:gd name="connsiteX85" fmla="*/ 11292119 w 12192000"/>
              <a:gd name="connsiteY85" fmla="*/ 713311 h 1924333"/>
              <a:gd name="connsiteX86" fmla="*/ 11435379 w 12192000"/>
              <a:gd name="connsiteY86" fmla="*/ 758519 h 1924333"/>
              <a:gd name="connsiteX87" fmla="*/ 11604406 w 12192000"/>
              <a:gd name="connsiteY87" fmla="*/ 810476 h 1924333"/>
              <a:gd name="connsiteX88" fmla="*/ 11652155 w 12192000"/>
              <a:gd name="connsiteY88" fmla="*/ 825109 h 1924333"/>
              <a:gd name="connsiteX89" fmla="*/ 11654192 w 12192000"/>
              <a:gd name="connsiteY89" fmla="*/ 827301 h 1924333"/>
              <a:gd name="connsiteX90" fmla="*/ 11676599 w 12192000"/>
              <a:gd name="connsiteY90" fmla="*/ 846628 h 1924333"/>
              <a:gd name="connsiteX91" fmla="*/ 11775168 w 12192000"/>
              <a:gd name="connsiteY91" fmla="*/ 890664 h 1924333"/>
              <a:gd name="connsiteX92" fmla="*/ 11826341 w 12192000"/>
              <a:gd name="connsiteY92" fmla="*/ 877558 h 1924333"/>
              <a:gd name="connsiteX93" fmla="*/ 11879068 w 12192000"/>
              <a:gd name="connsiteY93" fmla="*/ 874038 h 1924333"/>
              <a:gd name="connsiteX94" fmla="*/ 11889563 w 12192000"/>
              <a:gd name="connsiteY94" fmla="*/ 878619 h 1924333"/>
              <a:gd name="connsiteX95" fmla="*/ 12016613 w 12192000"/>
              <a:gd name="connsiteY95" fmla="*/ 886111 h 1924333"/>
              <a:gd name="connsiteX96" fmla="*/ 12108292 w 12192000"/>
              <a:gd name="connsiteY96" fmla="*/ 868500 h 1924333"/>
              <a:gd name="connsiteX97" fmla="*/ 12182910 w 12192000"/>
              <a:gd name="connsiteY97" fmla="*/ 882003 h 1924333"/>
              <a:gd name="connsiteX98" fmla="*/ 12192000 w 12192000"/>
              <a:gd name="connsiteY98" fmla="*/ 884778 h 1924333"/>
              <a:gd name="connsiteX99" fmla="*/ 12192000 w 12192000"/>
              <a:gd name="connsiteY99" fmla="*/ 1610315 h 1924333"/>
              <a:gd name="connsiteX100" fmla="*/ 12191998 w 12192000"/>
              <a:gd name="connsiteY100" fmla="*/ 1610315 h 1924333"/>
              <a:gd name="connsiteX101" fmla="*/ 12191998 w 12192000"/>
              <a:gd name="connsiteY101" fmla="*/ 1924333 h 1924333"/>
              <a:gd name="connsiteX102" fmla="*/ 0 w 12192000"/>
              <a:gd name="connsiteY102" fmla="*/ 1924333 h 1924333"/>
              <a:gd name="connsiteX103" fmla="*/ 0 w 12192000"/>
              <a:gd name="connsiteY103" fmla="*/ 505159 h 1924333"/>
              <a:gd name="connsiteX104" fmla="*/ 5722 w 12192000"/>
              <a:gd name="connsiteY104" fmla="*/ 508889 h 1924333"/>
              <a:gd name="connsiteX105" fmla="*/ 38476 w 12192000"/>
              <a:gd name="connsiteY105" fmla="*/ 524137 h 1924333"/>
              <a:gd name="connsiteX106" fmla="*/ 192883 w 12192000"/>
              <a:gd name="connsiteY106" fmla="*/ 545272 h 1924333"/>
              <a:gd name="connsiteX107" fmla="*/ 343710 w 12192000"/>
              <a:gd name="connsiteY107" fmla="*/ 565029 h 1924333"/>
              <a:gd name="connsiteX108" fmla="*/ 471066 w 12192000"/>
              <a:gd name="connsiteY108" fmla="*/ 549837 h 1924333"/>
              <a:gd name="connsiteX109" fmla="*/ 617333 w 12192000"/>
              <a:gd name="connsiteY109" fmla="*/ 526428 h 1924333"/>
              <a:gd name="connsiteX110" fmla="*/ 725203 w 12192000"/>
              <a:gd name="connsiteY110" fmla="*/ 523793 h 1924333"/>
              <a:gd name="connsiteX111" fmla="*/ 788494 w 12192000"/>
              <a:gd name="connsiteY111" fmla="*/ 505799 h 1924333"/>
              <a:gd name="connsiteX112" fmla="*/ 885977 w 12192000"/>
              <a:gd name="connsiteY112" fmla="*/ 526585 h 1924333"/>
              <a:gd name="connsiteX113" fmla="*/ 932142 w 12192000"/>
              <a:gd name="connsiteY113" fmla="*/ 528005 h 1924333"/>
              <a:gd name="connsiteX114" fmla="*/ 1090404 w 12192000"/>
              <a:gd name="connsiteY114" fmla="*/ 498299 h 1924333"/>
              <a:gd name="connsiteX115" fmla="*/ 1188628 w 12192000"/>
              <a:gd name="connsiteY115" fmla="*/ 483151 h 1924333"/>
              <a:gd name="connsiteX116" fmla="*/ 1316247 w 12192000"/>
              <a:gd name="connsiteY116" fmla="*/ 425979 h 1924333"/>
              <a:gd name="connsiteX117" fmla="*/ 1357712 w 12192000"/>
              <a:gd name="connsiteY117" fmla="*/ 416549 h 1924333"/>
              <a:gd name="connsiteX118" fmla="*/ 1425921 w 12192000"/>
              <a:gd name="connsiteY118" fmla="*/ 413953 h 1924333"/>
              <a:gd name="connsiteX119" fmla="*/ 1503817 w 12192000"/>
              <a:gd name="connsiteY119" fmla="*/ 380457 h 1924333"/>
              <a:gd name="connsiteX120" fmla="*/ 1639196 w 12192000"/>
              <a:gd name="connsiteY120" fmla="*/ 372785 h 1924333"/>
              <a:gd name="connsiteX121" fmla="*/ 1705606 w 12192000"/>
              <a:gd name="connsiteY121" fmla="*/ 359023 h 1924333"/>
              <a:gd name="connsiteX122" fmla="*/ 1813011 w 12192000"/>
              <a:gd name="connsiteY122" fmla="*/ 331023 h 1924333"/>
              <a:gd name="connsiteX123" fmla="*/ 1831380 w 12192000"/>
              <a:gd name="connsiteY123" fmla="*/ 341307 h 1924333"/>
              <a:gd name="connsiteX124" fmla="*/ 1858612 w 12192000"/>
              <a:gd name="connsiteY124" fmla="*/ 326777 h 1924333"/>
              <a:gd name="connsiteX125" fmla="*/ 1880661 w 12192000"/>
              <a:gd name="connsiteY125" fmla="*/ 335987 h 1924333"/>
              <a:gd name="connsiteX126" fmla="*/ 1941495 w 12192000"/>
              <a:gd name="connsiteY126" fmla="*/ 310792 h 1924333"/>
              <a:gd name="connsiteX127" fmla="*/ 1995402 w 12192000"/>
              <a:gd name="connsiteY127" fmla="*/ 305480 h 1924333"/>
              <a:gd name="connsiteX128" fmla="*/ 2223864 w 12192000"/>
              <a:gd name="connsiteY128" fmla="*/ 266118 h 1924333"/>
              <a:gd name="connsiteX129" fmla="*/ 2418043 w 12192000"/>
              <a:gd name="connsiteY129" fmla="*/ 215314 h 1924333"/>
              <a:gd name="connsiteX130" fmla="*/ 2558461 w 12192000"/>
              <a:gd name="connsiteY130" fmla="*/ 168193 h 1924333"/>
              <a:gd name="connsiteX131" fmla="*/ 2595535 w 12192000"/>
              <a:gd name="connsiteY131" fmla="*/ 158548 h 1924333"/>
              <a:gd name="connsiteX132" fmla="*/ 2626942 w 12192000"/>
              <a:gd name="connsiteY132" fmla="*/ 130400 h 1924333"/>
              <a:gd name="connsiteX133" fmla="*/ 2632225 w 12192000"/>
              <a:gd name="connsiteY133" fmla="*/ 130446 h 1924333"/>
              <a:gd name="connsiteX134" fmla="*/ 2696856 w 12192000"/>
              <a:gd name="connsiteY134" fmla="*/ 128498 h 1924333"/>
              <a:gd name="connsiteX135" fmla="*/ 2759767 w 12192000"/>
              <a:gd name="connsiteY135" fmla="*/ 127784 h 1924333"/>
              <a:gd name="connsiteX136" fmla="*/ 2792685 w 12192000"/>
              <a:gd name="connsiteY136" fmla="*/ 115710 h 1924333"/>
              <a:gd name="connsiteX137" fmla="*/ 2799767 w 12192000"/>
              <a:gd name="connsiteY137" fmla="*/ 113754 h 1924333"/>
              <a:gd name="connsiteX138" fmla="*/ 2829799 w 12192000"/>
              <a:gd name="connsiteY138" fmla="*/ 120042 h 1924333"/>
              <a:gd name="connsiteX139" fmla="*/ 2890704 w 12192000"/>
              <a:gd name="connsiteY139" fmla="*/ 121493 h 1924333"/>
              <a:gd name="connsiteX140" fmla="*/ 3042646 w 12192000"/>
              <a:gd name="connsiteY140" fmla="*/ 112273 h 1924333"/>
              <a:gd name="connsiteX141" fmla="*/ 3146630 w 12192000"/>
              <a:gd name="connsiteY141" fmla="*/ 100898 h 1924333"/>
              <a:gd name="connsiteX142" fmla="*/ 3233163 w 12192000"/>
              <a:gd name="connsiteY142" fmla="*/ 120200 h 1924333"/>
              <a:gd name="connsiteX143" fmla="*/ 3372699 w 12192000"/>
              <a:gd name="connsiteY143" fmla="*/ 129394 h 1924333"/>
              <a:gd name="connsiteX144" fmla="*/ 3394352 w 12192000"/>
              <a:gd name="connsiteY144" fmla="*/ 131671 h 1924333"/>
              <a:gd name="connsiteX145" fmla="*/ 3448218 w 12192000"/>
              <a:gd name="connsiteY145" fmla="*/ 118229 h 1924333"/>
              <a:gd name="connsiteX146" fmla="*/ 3505047 w 12192000"/>
              <a:gd name="connsiteY146" fmla="*/ 115412 h 1924333"/>
              <a:gd name="connsiteX147" fmla="*/ 3521767 w 12192000"/>
              <a:gd name="connsiteY147" fmla="*/ 111071 h 1924333"/>
              <a:gd name="connsiteX148" fmla="*/ 3585137 w 12192000"/>
              <a:gd name="connsiteY148" fmla="*/ 114371 h 1924333"/>
              <a:gd name="connsiteX149" fmla="*/ 3690293 w 12192000"/>
              <a:gd name="connsiteY149" fmla="*/ 98301 h 1924333"/>
              <a:gd name="connsiteX150" fmla="*/ 3867818 w 12192000"/>
              <a:gd name="connsiteY150" fmla="*/ 88985 h 1924333"/>
              <a:gd name="connsiteX151" fmla="*/ 4091337 w 12192000"/>
              <a:gd name="connsiteY151" fmla="*/ 70813 h 1924333"/>
              <a:gd name="connsiteX152" fmla="*/ 4246332 w 12192000"/>
              <a:gd name="connsiteY152" fmla="*/ 41697 h 1924333"/>
              <a:gd name="connsiteX153" fmla="*/ 4266975 w 12192000"/>
              <a:gd name="connsiteY153" fmla="*/ 46592 h 1924333"/>
              <a:gd name="connsiteX154" fmla="*/ 4270566 w 12192000"/>
              <a:gd name="connsiteY154" fmla="*/ 47620 h 1924333"/>
              <a:gd name="connsiteX155" fmla="*/ 4288964 w 12192000"/>
              <a:gd name="connsiteY155" fmla="*/ 52766 h 1924333"/>
              <a:gd name="connsiteX156" fmla="*/ 4365137 w 12192000"/>
              <a:gd name="connsiteY156" fmla="*/ 51783 h 1924333"/>
              <a:gd name="connsiteX157" fmla="*/ 4430546 w 12192000"/>
              <a:gd name="connsiteY157" fmla="*/ 44555 h 1924333"/>
              <a:gd name="connsiteX158" fmla="*/ 4444136 w 12192000"/>
              <a:gd name="connsiteY158" fmla="*/ 39567 h 1924333"/>
              <a:gd name="connsiteX159" fmla="*/ 4534039 w 12192000"/>
              <a:gd name="connsiteY159" fmla="*/ 31604 h 1924333"/>
              <a:gd name="connsiteX160" fmla="*/ 4560448 w 12192000"/>
              <a:gd name="connsiteY160" fmla="*/ 25231 h 1924333"/>
              <a:gd name="connsiteX161" fmla="*/ 4568006 w 12192000"/>
              <a:gd name="connsiteY161" fmla="*/ 25970 h 1924333"/>
              <a:gd name="connsiteX162" fmla="*/ 4595497 w 12192000"/>
              <a:gd name="connsiteY162" fmla="*/ 22958 h 1924333"/>
              <a:gd name="connsiteX163" fmla="*/ 4608623 w 12192000"/>
              <a:gd name="connsiteY163" fmla="*/ 18108 h 1924333"/>
              <a:gd name="connsiteX164" fmla="*/ 4623942 w 12192000"/>
              <a:gd name="connsiteY164" fmla="*/ 22251 h 1924333"/>
              <a:gd name="connsiteX165" fmla="*/ 4664336 w 12192000"/>
              <a:gd name="connsiteY165" fmla="*/ 23306 h 1924333"/>
              <a:gd name="connsiteX166" fmla="*/ 4677385 w 12192000"/>
              <a:gd name="connsiteY166" fmla="*/ 18246 h 1924333"/>
              <a:gd name="connsiteX167" fmla="*/ 4698143 w 12192000"/>
              <a:gd name="connsiteY167" fmla="*/ 18036 h 1924333"/>
              <a:gd name="connsiteX168" fmla="*/ 4750609 w 12192000"/>
              <a:gd name="connsiteY168" fmla="*/ 23611 h 1924333"/>
              <a:gd name="connsiteX169" fmla="*/ 4784658 w 12192000"/>
              <a:gd name="connsiteY169" fmla="*/ 25057 h 1924333"/>
              <a:gd name="connsiteX170" fmla="*/ 4847558 w 12192000"/>
              <a:gd name="connsiteY170" fmla="*/ 38726 h 1924333"/>
              <a:gd name="connsiteX171" fmla="*/ 4909134 w 12192000"/>
              <a:gd name="connsiteY171" fmla="*/ 50659 h 1924333"/>
              <a:gd name="connsiteX172" fmla="*/ 5099219 w 12192000"/>
              <a:gd name="connsiteY172" fmla="*/ 55050 h 1924333"/>
              <a:gd name="connsiteX173" fmla="*/ 5184992 w 12192000"/>
              <a:gd name="connsiteY173" fmla="*/ 67596 h 1924333"/>
              <a:gd name="connsiteX174" fmla="*/ 5229637 w 12192000"/>
              <a:gd name="connsiteY174" fmla="*/ 67789 h 1924333"/>
              <a:gd name="connsiteX175" fmla="*/ 5389346 w 12192000"/>
              <a:gd name="connsiteY175" fmla="*/ 80211 h 1924333"/>
              <a:gd name="connsiteX176" fmla="*/ 5494414 w 12192000"/>
              <a:gd name="connsiteY176" fmla="*/ 75926 h 1924333"/>
              <a:gd name="connsiteX177" fmla="*/ 5528443 w 12192000"/>
              <a:gd name="connsiteY177" fmla="*/ 77206 h 1924333"/>
              <a:gd name="connsiteX178" fmla="*/ 5684939 w 12192000"/>
              <a:gd name="connsiteY178" fmla="*/ 50269 h 1924333"/>
              <a:gd name="connsiteX179" fmla="*/ 5765146 w 12192000"/>
              <a:gd name="connsiteY179" fmla="*/ 50414 h 1924333"/>
              <a:gd name="connsiteX180" fmla="*/ 5848655 w 12192000"/>
              <a:gd name="connsiteY180" fmla="*/ 35257 h 1924333"/>
              <a:gd name="connsiteX181" fmla="*/ 5930656 w 12192000"/>
              <a:gd name="connsiteY181" fmla="*/ 30131 h 1924333"/>
              <a:gd name="connsiteX182" fmla="*/ 6124150 w 12192000"/>
              <a:gd name="connsiteY182" fmla="*/ 31679 h 1924333"/>
              <a:gd name="connsiteX183" fmla="*/ 6189199 w 12192000"/>
              <a:gd name="connsiteY183" fmla="*/ 588 h 19243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</a:cxnLst>
            <a:rect l="l" t="t" r="r" b="b"/>
            <a:pathLst>
              <a:path w="12192000" h="1924333">
                <a:moveTo>
                  <a:pt x="6189199" y="588"/>
                </a:moveTo>
                <a:cubicBezTo>
                  <a:pt x="6196356" y="-574"/>
                  <a:pt x="6202609" y="-108"/>
                  <a:pt x="6207079" y="2850"/>
                </a:cubicBezTo>
                <a:cubicBezTo>
                  <a:pt x="6222026" y="2749"/>
                  <a:pt x="6273489" y="3767"/>
                  <a:pt x="6285610" y="18131"/>
                </a:cubicBezTo>
                <a:cubicBezTo>
                  <a:pt x="6307255" y="18685"/>
                  <a:pt x="6357141" y="23793"/>
                  <a:pt x="6378008" y="24625"/>
                </a:cubicBezTo>
                <a:cubicBezTo>
                  <a:pt x="6409946" y="30645"/>
                  <a:pt x="6438307" y="10375"/>
                  <a:pt x="6466340" y="21366"/>
                </a:cubicBezTo>
                <a:cubicBezTo>
                  <a:pt x="6488276" y="31229"/>
                  <a:pt x="6529854" y="28110"/>
                  <a:pt x="6553334" y="35307"/>
                </a:cubicBezTo>
                <a:cubicBezTo>
                  <a:pt x="6561737" y="48059"/>
                  <a:pt x="6609188" y="62087"/>
                  <a:pt x="6626068" y="58045"/>
                </a:cubicBezTo>
                <a:cubicBezTo>
                  <a:pt x="6660952" y="66570"/>
                  <a:pt x="6666277" y="84716"/>
                  <a:pt x="6692303" y="91487"/>
                </a:cubicBezTo>
                <a:lnTo>
                  <a:pt x="6733670" y="118130"/>
                </a:lnTo>
                <a:lnTo>
                  <a:pt x="6798016" y="112271"/>
                </a:lnTo>
                <a:lnTo>
                  <a:pt x="6801081" y="114963"/>
                </a:lnTo>
                <a:cubicBezTo>
                  <a:pt x="6806919" y="120140"/>
                  <a:pt x="6812832" y="125016"/>
                  <a:pt x="6819351" y="128825"/>
                </a:cubicBezTo>
                <a:cubicBezTo>
                  <a:pt x="6825742" y="109997"/>
                  <a:pt x="6840132" y="116541"/>
                  <a:pt x="6852732" y="123321"/>
                </a:cubicBezTo>
                <a:lnTo>
                  <a:pt x="6865247" y="128836"/>
                </a:lnTo>
                <a:lnTo>
                  <a:pt x="6905517" y="129265"/>
                </a:lnTo>
                <a:cubicBezTo>
                  <a:pt x="6934052" y="140042"/>
                  <a:pt x="6939773" y="141556"/>
                  <a:pt x="6950286" y="150104"/>
                </a:cubicBezTo>
                <a:lnTo>
                  <a:pt x="7003442" y="136136"/>
                </a:lnTo>
                <a:lnTo>
                  <a:pt x="7160047" y="166721"/>
                </a:lnTo>
                <a:cubicBezTo>
                  <a:pt x="7207281" y="179911"/>
                  <a:pt x="7280644" y="210197"/>
                  <a:pt x="7325604" y="215867"/>
                </a:cubicBezTo>
                <a:cubicBezTo>
                  <a:pt x="7460113" y="233904"/>
                  <a:pt x="7393081" y="242880"/>
                  <a:pt x="7540522" y="239374"/>
                </a:cubicBezTo>
                <a:cubicBezTo>
                  <a:pt x="7545714" y="234872"/>
                  <a:pt x="7605972" y="231727"/>
                  <a:pt x="7612071" y="229553"/>
                </a:cubicBezTo>
                <a:lnTo>
                  <a:pt x="7651995" y="244567"/>
                </a:lnTo>
                <a:lnTo>
                  <a:pt x="7725761" y="258638"/>
                </a:lnTo>
                <a:lnTo>
                  <a:pt x="7823038" y="287078"/>
                </a:lnTo>
                <a:cubicBezTo>
                  <a:pt x="7837080" y="286482"/>
                  <a:pt x="7851647" y="286498"/>
                  <a:pt x="7866405" y="287288"/>
                </a:cubicBezTo>
                <a:lnTo>
                  <a:pt x="7875021" y="288224"/>
                </a:lnTo>
                <a:cubicBezTo>
                  <a:pt x="7875062" y="288354"/>
                  <a:pt x="7875105" y="288483"/>
                  <a:pt x="7875146" y="288614"/>
                </a:cubicBezTo>
                <a:cubicBezTo>
                  <a:pt x="7880550" y="289202"/>
                  <a:pt x="7901153" y="290716"/>
                  <a:pt x="7907443" y="291752"/>
                </a:cubicBezTo>
                <a:lnTo>
                  <a:pt x="7912892" y="294833"/>
                </a:lnTo>
                <a:lnTo>
                  <a:pt x="7946345" y="319359"/>
                </a:lnTo>
                <a:cubicBezTo>
                  <a:pt x="7958657" y="312776"/>
                  <a:pt x="7996513" y="309749"/>
                  <a:pt x="8021238" y="315159"/>
                </a:cubicBezTo>
                <a:cubicBezTo>
                  <a:pt x="8045964" y="320570"/>
                  <a:pt x="8058169" y="340462"/>
                  <a:pt x="8094697" y="351819"/>
                </a:cubicBezTo>
                <a:cubicBezTo>
                  <a:pt x="8129587" y="361154"/>
                  <a:pt x="8116181" y="360544"/>
                  <a:pt x="8155208" y="371168"/>
                </a:cubicBezTo>
                <a:cubicBezTo>
                  <a:pt x="8196217" y="383300"/>
                  <a:pt x="8205468" y="391801"/>
                  <a:pt x="8248472" y="400489"/>
                </a:cubicBezTo>
                <a:cubicBezTo>
                  <a:pt x="8283932" y="419791"/>
                  <a:pt x="8278617" y="392031"/>
                  <a:pt x="8300068" y="405531"/>
                </a:cubicBezTo>
                <a:lnTo>
                  <a:pt x="8356293" y="403328"/>
                </a:lnTo>
                <a:cubicBezTo>
                  <a:pt x="8377247" y="404463"/>
                  <a:pt x="8438442" y="433194"/>
                  <a:pt x="8475838" y="435524"/>
                </a:cubicBezTo>
                <a:cubicBezTo>
                  <a:pt x="8510241" y="438037"/>
                  <a:pt x="8545511" y="449840"/>
                  <a:pt x="8575216" y="450198"/>
                </a:cubicBezTo>
                <a:lnTo>
                  <a:pt x="8588650" y="447070"/>
                </a:lnTo>
                <a:lnTo>
                  <a:pt x="8612184" y="439577"/>
                </a:lnTo>
                <a:lnTo>
                  <a:pt x="8630713" y="433015"/>
                </a:lnTo>
                <a:cubicBezTo>
                  <a:pt x="8635870" y="429519"/>
                  <a:pt x="8700685" y="428411"/>
                  <a:pt x="8704240" y="422865"/>
                </a:cubicBezTo>
                <a:cubicBezTo>
                  <a:pt x="8761777" y="429549"/>
                  <a:pt x="8768302" y="427178"/>
                  <a:pt x="8829513" y="429389"/>
                </a:cubicBezTo>
                <a:cubicBezTo>
                  <a:pt x="8922895" y="444672"/>
                  <a:pt x="8924579" y="401507"/>
                  <a:pt x="9083651" y="390744"/>
                </a:cubicBezTo>
                <a:cubicBezTo>
                  <a:pt x="9138403" y="388032"/>
                  <a:pt x="9315003" y="378647"/>
                  <a:pt x="9371402" y="371809"/>
                </a:cubicBezTo>
                <a:cubicBezTo>
                  <a:pt x="9358632" y="337502"/>
                  <a:pt x="9402842" y="379364"/>
                  <a:pt x="9429586" y="369213"/>
                </a:cubicBezTo>
                <a:cubicBezTo>
                  <a:pt x="9449312" y="370213"/>
                  <a:pt x="9473938" y="373270"/>
                  <a:pt x="9489757" y="377814"/>
                </a:cubicBezTo>
                <a:cubicBezTo>
                  <a:pt x="9498164" y="379256"/>
                  <a:pt x="9507139" y="379272"/>
                  <a:pt x="9516954" y="376991"/>
                </a:cubicBezTo>
                <a:cubicBezTo>
                  <a:pt x="9548430" y="354766"/>
                  <a:pt x="9591874" y="370315"/>
                  <a:pt x="9645588" y="363590"/>
                </a:cubicBezTo>
                <a:cubicBezTo>
                  <a:pt x="9660487" y="368814"/>
                  <a:pt x="9710817" y="350550"/>
                  <a:pt x="9722896" y="360983"/>
                </a:cubicBezTo>
                <a:cubicBezTo>
                  <a:pt x="9733918" y="362239"/>
                  <a:pt x="9745201" y="356679"/>
                  <a:pt x="9752803" y="368492"/>
                </a:cubicBezTo>
                <a:cubicBezTo>
                  <a:pt x="9793268" y="374490"/>
                  <a:pt x="9843313" y="380978"/>
                  <a:pt x="9890305" y="380736"/>
                </a:cubicBezTo>
                <a:cubicBezTo>
                  <a:pt x="9912701" y="380083"/>
                  <a:pt x="9926523" y="379037"/>
                  <a:pt x="9939767" y="377776"/>
                </a:cubicBezTo>
                <a:lnTo>
                  <a:pt x="9944355" y="377352"/>
                </a:lnTo>
                <a:lnTo>
                  <a:pt x="9953719" y="375642"/>
                </a:lnTo>
                <a:lnTo>
                  <a:pt x="9955809" y="376294"/>
                </a:lnTo>
                <a:lnTo>
                  <a:pt x="10032710" y="394940"/>
                </a:lnTo>
                <a:lnTo>
                  <a:pt x="10049925" y="404971"/>
                </a:lnTo>
                <a:lnTo>
                  <a:pt x="10112671" y="414549"/>
                </a:lnTo>
                <a:cubicBezTo>
                  <a:pt x="10169643" y="412125"/>
                  <a:pt x="10132220" y="425358"/>
                  <a:pt x="10170853" y="435168"/>
                </a:cubicBezTo>
                <a:cubicBezTo>
                  <a:pt x="10206088" y="442020"/>
                  <a:pt x="10240809" y="454081"/>
                  <a:pt x="10290184" y="448123"/>
                </a:cubicBezTo>
                <a:cubicBezTo>
                  <a:pt x="10301813" y="444919"/>
                  <a:pt x="10315233" y="449499"/>
                  <a:pt x="10320158" y="458352"/>
                </a:cubicBezTo>
                <a:cubicBezTo>
                  <a:pt x="10321006" y="459876"/>
                  <a:pt x="10321565" y="461470"/>
                  <a:pt x="10321815" y="463087"/>
                </a:cubicBezTo>
                <a:cubicBezTo>
                  <a:pt x="10354058" y="457158"/>
                  <a:pt x="10355176" y="470634"/>
                  <a:pt x="10373742" y="464538"/>
                </a:cubicBezTo>
                <a:cubicBezTo>
                  <a:pt x="10403060" y="475292"/>
                  <a:pt x="10411841" y="497597"/>
                  <a:pt x="10428532" y="492504"/>
                </a:cubicBezTo>
                <a:cubicBezTo>
                  <a:pt x="10440561" y="500742"/>
                  <a:pt x="10446267" y="521930"/>
                  <a:pt x="10466490" y="517759"/>
                </a:cubicBezTo>
                <a:cubicBezTo>
                  <a:pt x="10464622" y="519986"/>
                  <a:pt x="10465013" y="521261"/>
                  <a:pt x="10466675" y="522076"/>
                </a:cubicBezTo>
                <a:lnTo>
                  <a:pt x="10470309" y="522792"/>
                </a:lnTo>
                <a:lnTo>
                  <a:pt x="10474138" y="519761"/>
                </a:lnTo>
                <a:cubicBezTo>
                  <a:pt x="10488888" y="509612"/>
                  <a:pt x="10484914" y="524734"/>
                  <a:pt x="10501100" y="528263"/>
                </a:cubicBezTo>
                <a:cubicBezTo>
                  <a:pt x="10508412" y="530705"/>
                  <a:pt x="10505426" y="533743"/>
                  <a:pt x="10502395" y="536393"/>
                </a:cubicBezTo>
                <a:lnTo>
                  <a:pt x="10689496" y="560233"/>
                </a:lnTo>
                <a:cubicBezTo>
                  <a:pt x="10721441" y="573640"/>
                  <a:pt x="10757547" y="582937"/>
                  <a:pt x="10788736" y="613188"/>
                </a:cubicBezTo>
                <a:cubicBezTo>
                  <a:pt x="10794510" y="621641"/>
                  <a:pt x="10807098" y="616073"/>
                  <a:pt x="10819747" y="621351"/>
                </a:cubicBezTo>
                <a:cubicBezTo>
                  <a:pt x="10832398" y="626630"/>
                  <a:pt x="10846356" y="639592"/>
                  <a:pt x="10864632" y="644858"/>
                </a:cubicBezTo>
                <a:cubicBezTo>
                  <a:pt x="10895617" y="652290"/>
                  <a:pt x="10921550" y="640451"/>
                  <a:pt x="10929407" y="652945"/>
                </a:cubicBezTo>
                <a:cubicBezTo>
                  <a:pt x="10945460" y="653176"/>
                  <a:pt x="10968148" y="640553"/>
                  <a:pt x="10979412" y="654217"/>
                </a:cubicBezTo>
                <a:cubicBezTo>
                  <a:pt x="10981679" y="643737"/>
                  <a:pt x="10997287" y="663414"/>
                  <a:pt x="11006959" y="657017"/>
                </a:cubicBezTo>
                <a:cubicBezTo>
                  <a:pt x="11023230" y="659396"/>
                  <a:pt x="11051890" y="662462"/>
                  <a:pt x="11077038" y="668487"/>
                </a:cubicBezTo>
                <a:cubicBezTo>
                  <a:pt x="11097000" y="690299"/>
                  <a:pt x="11141286" y="676399"/>
                  <a:pt x="11157850" y="693164"/>
                </a:cubicBezTo>
                <a:cubicBezTo>
                  <a:pt x="11163800" y="695757"/>
                  <a:pt x="11169599" y="696942"/>
                  <a:pt x="11175276" y="697243"/>
                </a:cubicBezTo>
                <a:lnTo>
                  <a:pt x="11191131" y="696085"/>
                </a:lnTo>
                <a:lnTo>
                  <a:pt x="11195573" y="691751"/>
                </a:lnTo>
                <a:lnTo>
                  <a:pt x="11205299" y="693247"/>
                </a:lnTo>
                <a:lnTo>
                  <a:pt x="11223770" y="690335"/>
                </a:lnTo>
                <a:cubicBezTo>
                  <a:pt x="11237778" y="693777"/>
                  <a:pt x="11256852" y="701947"/>
                  <a:pt x="11292119" y="713311"/>
                </a:cubicBezTo>
                <a:cubicBezTo>
                  <a:pt x="11334878" y="733451"/>
                  <a:pt x="11401662" y="729175"/>
                  <a:pt x="11435379" y="758519"/>
                </a:cubicBezTo>
                <a:lnTo>
                  <a:pt x="11604406" y="810476"/>
                </a:lnTo>
                <a:lnTo>
                  <a:pt x="11652155" y="825109"/>
                </a:lnTo>
                <a:lnTo>
                  <a:pt x="11654192" y="827301"/>
                </a:lnTo>
                <a:cubicBezTo>
                  <a:pt x="11661650" y="834729"/>
                  <a:pt x="11669215" y="841480"/>
                  <a:pt x="11676599" y="846628"/>
                </a:cubicBezTo>
                <a:cubicBezTo>
                  <a:pt x="11688258" y="861760"/>
                  <a:pt x="11752266" y="896888"/>
                  <a:pt x="11775168" y="890664"/>
                </a:cubicBezTo>
                <a:cubicBezTo>
                  <a:pt x="11790977" y="883819"/>
                  <a:pt x="11808364" y="879901"/>
                  <a:pt x="11826341" y="877558"/>
                </a:cubicBezTo>
                <a:lnTo>
                  <a:pt x="11879068" y="874038"/>
                </a:lnTo>
                <a:lnTo>
                  <a:pt x="11889563" y="878619"/>
                </a:lnTo>
                <a:lnTo>
                  <a:pt x="12016613" y="886111"/>
                </a:lnTo>
                <a:lnTo>
                  <a:pt x="12108292" y="868500"/>
                </a:lnTo>
                <a:cubicBezTo>
                  <a:pt x="12129725" y="867311"/>
                  <a:pt x="12157891" y="874537"/>
                  <a:pt x="12182910" y="882003"/>
                </a:cubicBezTo>
                <a:lnTo>
                  <a:pt x="12192000" y="884778"/>
                </a:lnTo>
                <a:lnTo>
                  <a:pt x="12192000" y="1610315"/>
                </a:lnTo>
                <a:lnTo>
                  <a:pt x="12191998" y="1610315"/>
                </a:lnTo>
                <a:lnTo>
                  <a:pt x="12191998" y="1924333"/>
                </a:lnTo>
                <a:lnTo>
                  <a:pt x="0" y="1924333"/>
                </a:lnTo>
                <a:lnTo>
                  <a:pt x="0" y="505159"/>
                </a:lnTo>
                <a:lnTo>
                  <a:pt x="5722" y="508889"/>
                </a:lnTo>
                <a:cubicBezTo>
                  <a:pt x="21614" y="518548"/>
                  <a:pt x="33814" y="524781"/>
                  <a:pt x="38476" y="524137"/>
                </a:cubicBezTo>
                <a:cubicBezTo>
                  <a:pt x="99229" y="544180"/>
                  <a:pt x="142010" y="538457"/>
                  <a:pt x="192883" y="545272"/>
                </a:cubicBezTo>
                <a:cubicBezTo>
                  <a:pt x="277629" y="525210"/>
                  <a:pt x="293434" y="558443"/>
                  <a:pt x="343710" y="565029"/>
                </a:cubicBezTo>
                <a:cubicBezTo>
                  <a:pt x="383094" y="555729"/>
                  <a:pt x="425462" y="556271"/>
                  <a:pt x="471066" y="549837"/>
                </a:cubicBezTo>
                <a:cubicBezTo>
                  <a:pt x="513583" y="544428"/>
                  <a:pt x="569194" y="531004"/>
                  <a:pt x="617333" y="526428"/>
                </a:cubicBezTo>
                <a:cubicBezTo>
                  <a:pt x="660031" y="520760"/>
                  <a:pt x="696675" y="523882"/>
                  <a:pt x="725203" y="523793"/>
                </a:cubicBezTo>
                <a:cubicBezTo>
                  <a:pt x="736650" y="521695"/>
                  <a:pt x="780513" y="502146"/>
                  <a:pt x="788494" y="505799"/>
                </a:cubicBezTo>
                <a:lnTo>
                  <a:pt x="885977" y="526585"/>
                </a:lnTo>
                <a:cubicBezTo>
                  <a:pt x="906140" y="522837"/>
                  <a:pt x="917203" y="532232"/>
                  <a:pt x="932142" y="528005"/>
                </a:cubicBezTo>
                <a:cubicBezTo>
                  <a:pt x="963701" y="524128"/>
                  <a:pt x="1061555" y="499582"/>
                  <a:pt x="1090404" y="498299"/>
                </a:cubicBezTo>
                <a:cubicBezTo>
                  <a:pt x="1132840" y="494057"/>
                  <a:pt x="1148476" y="496041"/>
                  <a:pt x="1188628" y="483151"/>
                </a:cubicBezTo>
                <a:cubicBezTo>
                  <a:pt x="1230397" y="468408"/>
                  <a:pt x="1278711" y="457638"/>
                  <a:pt x="1316247" y="425979"/>
                </a:cubicBezTo>
                <a:cubicBezTo>
                  <a:pt x="1322662" y="417251"/>
                  <a:pt x="1339433" y="418553"/>
                  <a:pt x="1357712" y="416549"/>
                </a:cubicBezTo>
                <a:cubicBezTo>
                  <a:pt x="1375991" y="414544"/>
                  <a:pt x="1423507" y="412949"/>
                  <a:pt x="1425921" y="413953"/>
                </a:cubicBezTo>
                <a:cubicBezTo>
                  <a:pt x="1450272" y="407937"/>
                  <a:pt x="1458223" y="388156"/>
                  <a:pt x="1503817" y="380457"/>
                </a:cubicBezTo>
                <a:cubicBezTo>
                  <a:pt x="1541095" y="377398"/>
                  <a:pt x="1605565" y="376357"/>
                  <a:pt x="1639196" y="372785"/>
                </a:cubicBezTo>
                <a:cubicBezTo>
                  <a:pt x="1653280" y="376736"/>
                  <a:pt x="1695289" y="365766"/>
                  <a:pt x="1705606" y="359023"/>
                </a:cubicBezTo>
                <a:cubicBezTo>
                  <a:pt x="1729169" y="336295"/>
                  <a:pt x="1793207" y="348537"/>
                  <a:pt x="1813011" y="331023"/>
                </a:cubicBezTo>
                <a:cubicBezTo>
                  <a:pt x="1820772" y="328179"/>
                  <a:pt x="1823566" y="341833"/>
                  <a:pt x="1831380" y="341307"/>
                </a:cubicBezTo>
                <a:lnTo>
                  <a:pt x="1858612" y="326777"/>
                </a:lnTo>
                <a:lnTo>
                  <a:pt x="1880661" y="335987"/>
                </a:lnTo>
                <a:lnTo>
                  <a:pt x="1941495" y="310792"/>
                </a:lnTo>
                <a:cubicBezTo>
                  <a:pt x="1978970" y="307223"/>
                  <a:pt x="1947391" y="291714"/>
                  <a:pt x="1995402" y="305480"/>
                </a:cubicBezTo>
                <a:cubicBezTo>
                  <a:pt x="2042464" y="298034"/>
                  <a:pt x="2153424" y="281146"/>
                  <a:pt x="2223864" y="266118"/>
                </a:cubicBezTo>
                <a:cubicBezTo>
                  <a:pt x="2261296" y="256300"/>
                  <a:pt x="2360518" y="238323"/>
                  <a:pt x="2418043" y="215314"/>
                </a:cubicBezTo>
                <a:cubicBezTo>
                  <a:pt x="2472088" y="206823"/>
                  <a:pt x="2499422" y="162612"/>
                  <a:pt x="2558461" y="168193"/>
                </a:cubicBezTo>
                <a:cubicBezTo>
                  <a:pt x="2559660" y="164506"/>
                  <a:pt x="2592244" y="161337"/>
                  <a:pt x="2595535" y="158548"/>
                </a:cubicBezTo>
                <a:lnTo>
                  <a:pt x="2626942" y="130400"/>
                </a:lnTo>
                <a:lnTo>
                  <a:pt x="2632225" y="130446"/>
                </a:lnTo>
                <a:lnTo>
                  <a:pt x="2696856" y="128498"/>
                </a:lnTo>
                <a:lnTo>
                  <a:pt x="2759767" y="127784"/>
                </a:lnTo>
                <a:cubicBezTo>
                  <a:pt x="2770024" y="123546"/>
                  <a:pt x="2781047" y="119463"/>
                  <a:pt x="2792685" y="115710"/>
                </a:cubicBezTo>
                <a:lnTo>
                  <a:pt x="2799767" y="113754"/>
                </a:lnTo>
                <a:lnTo>
                  <a:pt x="2829799" y="120042"/>
                </a:lnTo>
                <a:lnTo>
                  <a:pt x="2890704" y="121493"/>
                </a:lnTo>
                <a:cubicBezTo>
                  <a:pt x="2935390" y="121035"/>
                  <a:pt x="2990780" y="113193"/>
                  <a:pt x="3042646" y="112273"/>
                </a:cubicBezTo>
                <a:cubicBezTo>
                  <a:pt x="3077119" y="111474"/>
                  <a:pt x="3124089" y="100414"/>
                  <a:pt x="3146630" y="100898"/>
                </a:cubicBezTo>
                <a:cubicBezTo>
                  <a:pt x="3169381" y="117699"/>
                  <a:pt x="3224695" y="125864"/>
                  <a:pt x="3233163" y="120200"/>
                </a:cubicBezTo>
                <a:lnTo>
                  <a:pt x="3372699" y="129394"/>
                </a:lnTo>
                <a:cubicBezTo>
                  <a:pt x="3389020" y="126586"/>
                  <a:pt x="3397563" y="116804"/>
                  <a:pt x="3394352" y="131671"/>
                </a:cubicBezTo>
                <a:cubicBezTo>
                  <a:pt x="3406102" y="131485"/>
                  <a:pt x="3429770" y="120938"/>
                  <a:pt x="3448218" y="118229"/>
                </a:cubicBezTo>
                <a:lnTo>
                  <a:pt x="3505047" y="115412"/>
                </a:lnTo>
                <a:lnTo>
                  <a:pt x="3521767" y="111071"/>
                </a:lnTo>
                <a:cubicBezTo>
                  <a:pt x="3526335" y="108877"/>
                  <a:pt x="3582156" y="117732"/>
                  <a:pt x="3585137" y="114371"/>
                </a:cubicBezTo>
                <a:cubicBezTo>
                  <a:pt x="3638265" y="102098"/>
                  <a:pt x="3633789" y="98565"/>
                  <a:pt x="3690293" y="98301"/>
                </a:cubicBezTo>
                <a:cubicBezTo>
                  <a:pt x="3782197" y="112746"/>
                  <a:pt x="3826738" y="92943"/>
                  <a:pt x="3867818" y="88985"/>
                </a:cubicBezTo>
                <a:cubicBezTo>
                  <a:pt x="3943777" y="81477"/>
                  <a:pt x="3990501" y="75194"/>
                  <a:pt x="4091337" y="70813"/>
                </a:cubicBezTo>
                <a:cubicBezTo>
                  <a:pt x="4154422" y="62932"/>
                  <a:pt x="4217060" y="45734"/>
                  <a:pt x="4246332" y="41697"/>
                </a:cubicBezTo>
                <a:cubicBezTo>
                  <a:pt x="4253308" y="42804"/>
                  <a:pt x="4260125" y="44606"/>
                  <a:pt x="4266975" y="46592"/>
                </a:cubicBezTo>
                <a:lnTo>
                  <a:pt x="4270566" y="47620"/>
                </a:lnTo>
                <a:lnTo>
                  <a:pt x="4288964" y="52766"/>
                </a:lnTo>
                <a:lnTo>
                  <a:pt x="4365137" y="51783"/>
                </a:lnTo>
                <a:lnTo>
                  <a:pt x="4430546" y="44555"/>
                </a:lnTo>
                <a:lnTo>
                  <a:pt x="4444136" y="39567"/>
                </a:lnTo>
                <a:lnTo>
                  <a:pt x="4534039" y="31604"/>
                </a:lnTo>
                <a:lnTo>
                  <a:pt x="4560448" y="25231"/>
                </a:lnTo>
                <a:lnTo>
                  <a:pt x="4568006" y="25970"/>
                </a:lnTo>
                <a:cubicBezTo>
                  <a:pt x="4580278" y="23866"/>
                  <a:pt x="4594878" y="14904"/>
                  <a:pt x="4595497" y="22958"/>
                </a:cubicBezTo>
                <a:lnTo>
                  <a:pt x="4608623" y="18108"/>
                </a:lnTo>
                <a:lnTo>
                  <a:pt x="4623942" y="22251"/>
                </a:lnTo>
                <a:cubicBezTo>
                  <a:pt x="4633227" y="23117"/>
                  <a:pt x="4655429" y="23973"/>
                  <a:pt x="4664336" y="23306"/>
                </a:cubicBezTo>
                <a:lnTo>
                  <a:pt x="4677385" y="18246"/>
                </a:lnTo>
                <a:lnTo>
                  <a:pt x="4698143" y="18036"/>
                </a:lnTo>
                <a:cubicBezTo>
                  <a:pt x="4710347" y="18931"/>
                  <a:pt x="4736189" y="22441"/>
                  <a:pt x="4750609" y="23611"/>
                </a:cubicBezTo>
                <a:cubicBezTo>
                  <a:pt x="4764270" y="27424"/>
                  <a:pt x="4774858" y="29782"/>
                  <a:pt x="4784658" y="25057"/>
                </a:cubicBezTo>
                <a:cubicBezTo>
                  <a:pt x="4804708" y="29613"/>
                  <a:pt x="4822811" y="48263"/>
                  <a:pt x="4847558" y="38726"/>
                </a:cubicBezTo>
                <a:cubicBezTo>
                  <a:pt x="4868304" y="42993"/>
                  <a:pt x="4867190" y="47939"/>
                  <a:pt x="4909134" y="50659"/>
                </a:cubicBezTo>
                <a:cubicBezTo>
                  <a:pt x="4945026" y="52455"/>
                  <a:pt x="5063406" y="54096"/>
                  <a:pt x="5099219" y="55050"/>
                </a:cubicBezTo>
                <a:cubicBezTo>
                  <a:pt x="5145195" y="57873"/>
                  <a:pt x="5163254" y="65473"/>
                  <a:pt x="5184992" y="67596"/>
                </a:cubicBezTo>
                <a:cubicBezTo>
                  <a:pt x="5206728" y="69720"/>
                  <a:pt x="5195578" y="65687"/>
                  <a:pt x="5229637" y="67789"/>
                </a:cubicBezTo>
                <a:cubicBezTo>
                  <a:pt x="5263695" y="69892"/>
                  <a:pt x="5345217" y="78854"/>
                  <a:pt x="5389346" y="80211"/>
                </a:cubicBezTo>
                <a:cubicBezTo>
                  <a:pt x="5425889" y="83191"/>
                  <a:pt x="5461943" y="84751"/>
                  <a:pt x="5494414" y="75926"/>
                </a:cubicBezTo>
                <a:lnTo>
                  <a:pt x="5528443" y="77206"/>
                </a:lnTo>
                <a:cubicBezTo>
                  <a:pt x="5582723" y="71370"/>
                  <a:pt x="5638917" y="68385"/>
                  <a:pt x="5684939" y="50269"/>
                </a:cubicBezTo>
                <a:cubicBezTo>
                  <a:pt x="5724389" y="45804"/>
                  <a:pt x="5737860" y="52916"/>
                  <a:pt x="5765146" y="50414"/>
                </a:cubicBezTo>
                <a:cubicBezTo>
                  <a:pt x="5792695" y="43060"/>
                  <a:pt x="5827352" y="38097"/>
                  <a:pt x="5848655" y="35257"/>
                </a:cubicBezTo>
                <a:lnTo>
                  <a:pt x="5930656" y="30131"/>
                </a:lnTo>
                <a:lnTo>
                  <a:pt x="6124150" y="31679"/>
                </a:lnTo>
                <a:cubicBezTo>
                  <a:pt x="6138131" y="22216"/>
                  <a:pt x="6167730" y="4075"/>
                  <a:pt x="6189199" y="588"/>
                </a:cubicBez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7140714" y="5667101"/>
            <a:ext cx="4173600" cy="1098692"/>
          </a:xfrm>
          <a:prstGeom prst="rect">
            <a:avLst/>
          </a:prstGeom>
        </p:spPr>
        <p:txBody>
          <a:bodyPr rtlCol="1" anchor="ctr">
            <a:normAutofit/>
          </a:bodyPr>
          <a:lstStyle>
            <a:defPPr>
              <a:defRPr lang="he-IL"/>
            </a:defPPr>
            <a:lvl1pPr>
              <a:spcAft>
                <a:spcPts val="600"/>
              </a:spcAft>
              <a:defRPr sz="4000" b="1" spc="600">
                <a:ln w="12700">
                  <a:solidFill>
                    <a:srgbClr val="002060"/>
                  </a:solidFill>
                </a:ln>
                <a:solidFill>
                  <a:srgbClr val="354165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pPr algn="ctr"/>
            <a:r>
              <a:rPr lang="he-IL" dirty="0">
                <a:solidFill>
                  <a:srgbClr val="C48309"/>
                </a:solidFill>
              </a:rPr>
              <a:t>ניהול סיכונים </a:t>
            </a:r>
          </a:p>
        </p:txBody>
      </p:sp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1479D2BB-3BA0-CAA4-830A-EAB2F0746DC1}"/>
              </a:ext>
            </a:extLst>
          </p:cNvPr>
          <p:cNvGraphicFramePr>
            <a:graphicFrameLocks noGrp="1" noDrilldown="1" noChangeAspect="1" noMove="1" noResize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3825468"/>
              </p:ext>
            </p:extLst>
          </p:nvPr>
        </p:nvGraphicFramePr>
        <p:xfrm>
          <a:off x="1680844" y="4688"/>
          <a:ext cx="8830311" cy="46993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r:id="rId5" imgW="6664049" imgH="5660193" progId="Word.Document.12">
                  <p:link updateAutomatic="1"/>
                </p:oleObj>
              </mc:Choice>
              <mc:Fallback>
                <p:oleObj name="Document" r:id="rId5" imgW="6664049" imgH="5660193" progId="Word.Documen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0844" y="4688"/>
                        <a:ext cx="8830311" cy="46993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46" name="Picture 2" descr="Free Warehouse PowerPoint Templates And Google Slides">
            <a:extLst>
              <a:ext uri="{FF2B5EF4-FFF2-40B4-BE49-F238E27FC236}">
                <a16:creationId xmlns:a16="http://schemas.microsoft.com/office/drawing/2014/main" id="{9D939EE1-3E39-5DC1-DAEA-C9445E2D5EC2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2" t="28100" r="36532" b="14450"/>
          <a:stretch/>
        </p:blipFill>
        <p:spPr bwMode="auto">
          <a:xfrm>
            <a:off x="2433484" y="5105210"/>
            <a:ext cx="4218039" cy="1685218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Recording">
            <a:hlinkClick r:id="" action="ppaction://media"/>
            <a:extLst>
              <a:ext uri="{FF2B5EF4-FFF2-40B4-BE49-F238E27FC236}">
                <a16:creationId xmlns:a16="http://schemas.microsoft.com/office/drawing/2014/main" id="{9882E6A4-470C-B462-332F-4DC5DA54D33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3">
                  <p14:trim st="3041" end="671.9791"/>
                </p14:media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396875" y="7458075"/>
            <a:ext cx="531813" cy="531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0934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1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34" presetClass="emph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Motion origin="layout" path="M 0.0 0.0 L 0.0 -0.07213" pathEditMode="relative" ptsTypes="">
                                      <p:cBhvr>
                                        <p:cTn id="8" dur="500" accel="500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Rot by="1500000">
                                      <p:cBhvr>
                                        <p:cTn id="9" dur="25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1500000">
                                      <p:cBhvr>
                                        <p:cTn id="10" dur="250" fill="hold">
                                          <p:stCondLst>
                                            <p:cond delay="25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1500000">
                                      <p:cBhvr>
                                        <p:cTn id="11" dur="25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500000">
                                      <p:cBhvr>
                                        <p:cTn id="12" dur="250" fill="hold">
                                          <p:stCondLst>
                                            <p:cond delay="75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3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4" dur="1343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100"/>
                            </p:stCondLst>
                            <p:childTnLst>
                              <p:par>
                                <p:cTn id="1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100"/>
                            </p:stCondLst>
                            <p:childTnLst>
                              <p:par>
                                <p:cTn id="19" presetID="45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92 -0.00069 L 0.01614 -0.00069 C 0.02408 -0.00069 0.0332 -0.01389 0.0414 -0.01713 C 0.047 -0.01713 0.0582 -0.00324 0.06354 -0.00324 C 0.07057 -0.00324 0.07682 -0.00718 0.09049 -0.00718 C 0.0931 -0.0588 0.09622 -0.11134 0.09895 -0.16273 C 0.10247 -0.09977 0.10586 -0.03773 0.10924 0.025 C 0.04622 0.00023 -0.46927 0.09398 -0.55013 0.02431 " pathEditMode="relative" rAng="0" ptsTypes="AAAAAAAA">
                                      <p:cBhvr>
                                        <p:cTn id="20" dur="2000" spd="-100000" fill="hold"/>
                                        <p:tgtEl>
                                          <p:spTgt spid="61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1953" y="-553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4100"/>
                            </p:stCondLst>
                            <p:childTnLst>
                              <p:par>
                                <p:cTn id="22" presetID="16" presetClass="entr" presetSubtype="2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25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  <p:bldLst>
      <p:bldP spid="12" grpId="0"/>
      <p:bldP spid="12" grpId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73A25D70-4A55-4F72-B9C5-A69CDBF4DB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4957100-6D8B-4161-9F2F-C0A949EC84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CBCB02B1-1B82-403C-B7D2-E2CED1882F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496934" y="3984"/>
            <a:ext cx="9376632" cy="6858000"/>
          </a:xfrm>
          <a:custGeom>
            <a:avLst/>
            <a:gdLst>
              <a:gd name="connsiteX0" fmla="*/ 1691615 w 9376632"/>
              <a:gd name="connsiteY0" fmla="*/ 0 h 6858000"/>
              <a:gd name="connsiteX1" fmla="*/ 7685017 w 9376632"/>
              <a:gd name="connsiteY1" fmla="*/ 0 h 6858000"/>
              <a:gd name="connsiteX2" fmla="*/ 7840634 w 9376632"/>
              <a:gd name="connsiteY2" fmla="*/ 134799 h 6858000"/>
              <a:gd name="connsiteX3" fmla="*/ 9376632 w 9376632"/>
              <a:gd name="connsiteY3" fmla="*/ 3605175 h 6858000"/>
              <a:gd name="connsiteX4" fmla="*/ 8158692 w 9376632"/>
              <a:gd name="connsiteY4" fmla="*/ 6757493 h 6858000"/>
              <a:gd name="connsiteX5" fmla="*/ 8062868 w 9376632"/>
              <a:gd name="connsiteY5" fmla="*/ 6858000 h 6858000"/>
              <a:gd name="connsiteX6" fmla="*/ 1313765 w 9376632"/>
              <a:gd name="connsiteY6" fmla="*/ 6858000 h 6858000"/>
              <a:gd name="connsiteX7" fmla="*/ 1217940 w 9376632"/>
              <a:gd name="connsiteY7" fmla="*/ 6757493 h 6858000"/>
              <a:gd name="connsiteX8" fmla="*/ 0 w 9376632"/>
              <a:gd name="connsiteY8" fmla="*/ 3605175 h 6858000"/>
              <a:gd name="connsiteX9" fmla="*/ 1535999 w 9376632"/>
              <a:gd name="connsiteY9" fmla="*/ 13479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376632" h="6858000">
                <a:moveTo>
                  <a:pt x="1691615" y="0"/>
                </a:moveTo>
                <a:lnTo>
                  <a:pt x="7685017" y="0"/>
                </a:lnTo>
                <a:lnTo>
                  <a:pt x="7840634" y="134799"/>
                </a:lnTo>
                <a:cubicBezTo>
                  <a:pt x="8784230" y="992423"/>
                  <a:pt x="9376632" y="2229618"/>
                  <a:pt x="9376632" y="3605175"/>
                </a:cubicBezTo>
                <a:cubicBezTo>
                  <a:pt x="9376632" y="4818903"/>
                  <a:pt x="8915419" y="5924908"/>
                  <a:pt x="8158692" y="6757493"/>
                </a:cubicBezTo>
                <a:lnTo>
                  <a:pt x="8062868" y="6858000"/>
                </a:lnTo>
                <a:lnTo>
                  <a:pt x="1313765" y="6858000"/>
                </a:lnTo>
                <a:lnTo>
                  <a:pt x="1217940" y="6757493"/>
                </a:lnTo>
                <a:cubicBezTo>
                  <a:pt x="461213" y="5924908"/>
                  <a:pt x="0" y="4818903"/>
                  <a:pt x="0" y="3605175"/>
                </a:cubicBezTo>
                <a:cubicBezTo>
                  <a:pt x="0" y="2229618"/>
                  <a:pt x="592403" y="992423"/>
                  <a:pt x="1535999" y="134799"/>
                </a:cubicBezTo>
                <a:close/>
              </a:path>
            </a:pathLst>
          </a:custGeom>
          <a:gradFill flip="none" rotWithShape="1">
            <a:gsLst>
              <a:gs pos="16000">
                <a:schemeClr val="accent6">
                  <a:alpha val="20000"/>
                </a:schemeClr>
              </a:gs>
              <a:gs pos="85000">
                <a:schemeClr val="accent1">
                  <a:alpha val="40000"/>
                </a:schemeClr>
              </a:gs>
            </a:gsLst>
            <a:lin ang="12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CDE13A7-6382-4A67-BEBE-4FF1F37C7F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303402" y="3985"/>
            <a:ext cx="9772765" cy="6858000"/>
            <a:chOff x="1303402" y="36937"/>
            <a:chExt cx="9772765" cy="6858000"/>
          </a:xfrm>
          <a:solidFill>
            <a:schemeClr val="bg1">
              <a:alpha val="30000"/>
            </a:schemeClr>
          </a:solidFill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E9978FC9-2E40-4257-8D97-FAB20CA4BF1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560551" y="36937"/>
              <a:ext cx="9313016" cy="6858000"/>
            </a:xfrm>
            <a:custGeom>
              <a:avLst/>
              <a:gdLst>
                <a:gd name="connsiteX0" fmla="*/ 6993556 w 9313016"/>
                <a:gd name="connsiteY0" fmla="*/ 0 h 6858000"/>
                <a:gd name="connsiteX1" fmla="*/ 7358516 w 9313016"/>
                <a:gd name="connsiteY1" fmla="*/ 0 h 6858000"/>
                <a:gd name="connsiteX2" fmla="*/ 7475006 w 9313016"/>
                <a:gd name="connsiteY2" fmla="*/ 82722 h 6858000"/>
                <a:gd name="connsiteX3" fmla="*/ 7816357 w 9313016"/>
                <a:gd name="connsiteY3" fmla="*/ 358482 h 6858000"/>
                <a:gd name="connsiteX4" fmla="*/ 8421752 w 9313016"/>
                <a:gd name="connsiteY4" fmla="*/ 995405 h 6858000"/>
                <a:gd name="connsiteX5" fmla="*/ 8897059 w 9313016"/>
                <a:gd name="connsiteY5" fmla="*/ 1737211 h 6858000"/>
                <a:gd name="connsiteX6" fmla="*/ 9206633 w 9313016"/>
                <a:gd name="connsiteY6" fmla="*/ 2564460 h 6858000"/>
                <a:gd name="connsiteX7" fmla="*/ 9286787 w 9313016"/>
                <a:gd name="connsiteY7" fmla="*/ 3000164 h 6858000"/>
                <a:gd name="connsiteX8" fmla="*/ 9312914 w 9313016"/>
                <a:gd name="connsiteY8" fmla="*/ 3442493 h 6858000"/>
                <a:gd name="connsiteX9" fmla="*/ 9190562 w 9313016"/>
                <a:gd name="connsiteY9" fmla="*/ 4316686 h 6858000"/>
                <a:gd name="connsiteX10" fmla="*/ 9043416 w 9313016"/>
                <a:gd name="connsiteY10" fmla="*/ 4734917 h 6858000"/>
                <a:gd name="connsiteX11" fmla="*/ 8809657 w 9313016"/>
                <a:gd name="connsiteY11" fmla="*/ 5128718 h 6858000"/>
                <a:gd name="connsiteX12" fmla="*/ 8645997 w 9313016"/>
                <a:gd name="connsiteY12" fmla="*/ 5297441 h 6858000"/>
                <a:gd name="connsiteX13" fmla="*/ 8457787 w 9313016"/>
                <a:gd name="connsiteY13" fmla="*/ 5433763 h 6858000"/>
                <a:gd name="connsiteX14" fmla="*/ 8260803 w 9313016"/>
                <a:gd name="connsiteY14" fmla="*/ 5541237 h 6858000"/>
                <a:gd name="connsiteX15" fmla="*/ 8066136 w 9313016"/>
                <a:gd name="connsiteY15" fmla="*/ 5635704 h 6858000"/>
                <a:gd name="connsiteX16" fmla="*/ 7698638 w 9313016"/>
                <a:gd name="connsiteY16" fmla="*/ 5837163 h 6858000"/>
                <a:gd name="connsiteX17" fmla="*/ 7370135 w 9313016"/>
                <a:gd name="connsiteY17" fmla="*/ 6090081 h 6858000"/>
                <a:gd name="connsiteX18" fmla="*/ 7218897 w 9313016"/>
                <a:gd name="connsiteY18" fmla="*/ 6235860 h 6858000"/>
                <a:gd name="connsiteX19" fmla="*/ 7070665 w 9313016"/>
                <a:gd name="connsiteY19" fmla="*/ 6387205 h 6858000"/>
                <a:gd name="connsiteX20" fmla="*/ 6779035 w 9313016"/>
                <a:gd name="connsiteY20" fmla="*/ 6697100 h 6858000"/>
                <a:gd name="connsiteX21" fmla="*/ 6631837 w 9313016"/>
                <a:gd name="connsiteY21" fmla="*/ 6852239 h 6858000"/>
                <a:gd name="connsiteX22" fmla="*/ 6626221 w 9313016"/>
                <a:gd name="connsiteY22" fmla="*/ 6858000 h 6858000"/>
                <a:gd name="connsiteX23" fmla="*/ 6424725 w 9313016"/>
                <a:gd name="connsiteY23" fmla="*/ 6858000 h 6858000"/>
                <a:gd name="connsiteX24" fmla="*/ 6527382 w 9313016"/>
                <a:gd name="connsiteY24" fmla="*/ 6756333 h 6858000"/>
                <a:gd name="connsiteX25" fmla="*/ 6674233 w 9313016"/>
                <a:gd name="connsiteY25" fmla="*/ 6603450 h 6858000"/>
                <a:gd name="connsiteX26" fmla="*/ 6965813 w 9313016"/>
                <a:gd name="connsiteY26" fmla="*/ 6292932 h 6858000"/>
                <a:gd name="connsiteX27" fmla="*/ 7112961 w 9313016"/>
                <a:gd name="connsiteY27" fmla="*/ 6137505 h 6858000"/>
                <a:gd name="connsiteX28" fmla="*/ 7264790 w 9313016"/>
                <a:gd name="connsiteY28" fmla="*/ 5983710 h 6858000"/>
                <a:gd name="connsiteX29" fmla="*/ 7974595 w 9313016"/>
                <a:gd name="connsiteY29" fmla="*/ 5470773 h 6858000"/>
                <a:gd name="connsiteX30" fmla="*/ 8331591 w 9313016"/>
                <a:gd name="connsiteY30" fmla="*/ 5254048 h 6858000"/>
                <a:gd name="connsiteX31" fmla="*/ 8599807 w 9313016"/>
                <a:gd name="connsiteY31" fmla="*/ 4980010 h 6858000"/>
                <a:gd name="connsiteX32" fmla="*/ 8766474 w 9313016"/>
                <a:gd name="connsiteY32" fmla="*/ 4631524 h 6858000"/>
                <a:gd name="connsiteX33" fmla="*/ 8865755 w 9313016"/>
                <a:gd name="connsiteY33" fmla="*/ 4244445 h 6858000"/>
                <a:gd name="connsiteX34" fmla="*/ 8882911 w 9313016"/>
                <a:gd name="connsiteY34" fmla="*/ 4145659 h 6858000"/>
                <a:gd name="connsiteX35" fmla="*/ 8897403 w 9313016"/>
                <a:gd name="connsiteY35" fmla="*/ 4046633 h 6858000"/>
                <a:gd name="connsiteX36" fmla="*/ 8908298 w 9313016"/>
                <a:gd name="connsiteY36" fmla="*/ 3947271 h 6858000"/>
                <a:gd name="connsiteX37" fmla="*/ 8916184 w 9313016"/>
                <a:gd name="connsiteY37" fmla="*/ 3847765 h 6858000"/>
                <a:gd name="connsiteX38" fmla="*/ 8920670 w 9313016"/>
                <a:gd name="connsiteY38" fmla="*/ 3449597 h 6858000"/>
                <a:gd name="connsiteX39" fmla="*/ 8914607 w 9313016"/>
                <a:gd name="connsiteY39" fmla="*/ 3350283 h 6858000"/>
                <a:gd name="connsiteX40" fmla="*/ 8905340 w 9313016"/>
                <a:gd name="connsiteY40" fmla="*/ 3251209 h 6858000"/>
                <a:gd name="connsiteX41" fmla="*/ 8893854 w 9313016"/>
                <a:gd name="connsiteY41" fmla="*/ 3152376 h 6858000"/>
                <a:gd name="connsiteX42" fmla="*/ 8879706 w 9313016"/>
                <a:gd name="connsiteY42" fmla="*/ 3053878 h 6858000"/>
                <a:gd name="connsiteX43" fmla="*/ 8797531 w 9313016"/>
                <a:gd name="connsiteY43" fmla="*/ 2663966 h 6858000"/>
                <a:gd name="connsiteX44" fmla="*/ 8520442 w 9313016"/>
                <a:gd name="connsiteY44" fmla="*/ 1911983 h 6858000"/>
                <a:gd name="connsiteX45" fmla="*/ 8332626 w 9313016"/>
                <a:gd name="connsiteY45" fmla="*/ 1553608 h 6858000"/>
                <a:gd name="connsiteX46" fmla="*/ 8116317 w 9313016"/>
                <a:gd name="connsiteY46" fmla="*/ 1208529 h 6858000"/>
                <a:gd name="connsiteX47" fmla="*/ 7873293 w 9313016"/>
                <a:gd name="connsiteY47" fmla="*/ 878284 h 6858000"/>
                <a:gd name="connsiteX48" fmla="*/ 7604337 w 9313016"/>
                <a:gd name="connsiteY48" fmla="*/ 565125 h 6858000"/>
                <a:gd name="connsiteX49" fmla="*/ 7311128 w 9313016"/>
                <a:gd name="connsiteY49" fmla="*/ 270591 h 6858000"/>
                <a:gd name="connsiteX50" fmla="*/ 1752019 w 9313016"/>
                <a:gd name="connsiteY50" fmla="*/ 0 h 6858000"/>
                <a:gd name="connsiteX51" fmla="*/ 2155804 w 9313016"/>
                <a:gd name="connsiteY51" fmla="*/ 0 h 6858000"/>
                <a:gd name="connsiteX52" fmla="*/ 2103975 w 9313016"/>
                <a:gd name="connsiteY52" fmla="*/ 40789 h 6858000"/>
                <a:gd name="connsiteX53" fmla="*/ 1656310 w 9313016"/>
                <a:gd name="connsiteY53" fmla="*/ 470035 h 6858000"/>
                <a:gd name="connsiteX54" fmla="*/ 806013 w 9313016"/>
                <a:gd name="connsiteY54" fmla="*/ 1841133 h 6858000"/>
                <a:gd name="connsiteX55" fmla="*/ 580685 w 9313016"/>
                <a:gd name="connsiteY55" fmla="*/ 2606364 h 6858000"/>
                <a:gd name="connsiteX56" fmla="*/ 503489 w 9313016"/>
                <a:gd name="connsiteY56" fmla="*/ 3397276 h 6858000"/>
                <a:gd name="connsiteX57" fmla="*/ 570135 w 9313016"/>
                <a:gd name="connsiteY57" fmla="*/ 4188235 h 6858000"/>
                <a:gd name="connsiteX58" fmla="*/ 783387 w 9313016"/>
                <a:gd name="connsiteY58" fmla="*/ 4953850 h 6858000"/>
                <a:gd name="connsiteX59" fmla="*/ 1628014 w 9313016"/>
                <a:gd name="connsiteY59" fmla="*/ 6308245 h 6858000"/>
                <a:gd name="connsiteX60" fmla="*/ 2235998 w 9313016"/>
                <a:gd name="connsiteY60" fmla="*/ 6844829 h 6858000"/>
                <a:gd name="connsiteX61" fmla="*/ 2255028 w 9313016"/>
                <a:gd name="connsiteY61" fmla="*/ 6858000 h 6858000"/>
                <a:gd name="connsiteX62" fmla="*/ 1578787 w 9313016"/>
                <a:gd name="connsiteY62" fmla="*/ 6858000 h 6858000"/>
                <a:gd name="connsiteX63" fmla="*/ 1465153 w 9313016"/>
                <a:gd name="connsiteY63" fmla="*/ 6759050 h 6858000"/>
                <a:gd name="connsiteX64" fmla="*/ 1303650 w 9313016"/>
                <a:gd name="connsiteY64" fmla="*/ 6604267 h 6858000"/>
                <a:gd name="connsiteX65" fmla="*/ 323708 w 9313016"/>
                <a:gd name="connsiteY65" fmla="*/ 5126365 h 6858000"/>
                <a:gd name="connsiteX66" fmla="*/ 872 w 9313016"/>
                <a:gd name="connsiteY66" fmla="*/ 3391228 h 6858000"/>
                <a:gd name="connsiteX67" fmla="*/ 105428 w 9313016"/>
                <a:gd name="connsiteY67" fmla="*/ 2511899 h 6858000"/>
                <a:gd name="connsiteX68" fmla="*/ 384933 w 9313016"/>
                <a:gd name="connsiteY68" fmla="*/ 1670971 h 6858000"/>
                <a:gd name="connsiteX69" fmla="*/ 1433593 w 9313016"/>
                <a:gd name="connsiteY69" fmla="*/ 256095 h 6858000"/>
                <a:gd name="connsiteX70" fmla="*/ 1602664 w 9313016"/>
                <a:gd name="connsiteY70" fmla="*/ 113704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9313016" h="6858000">
                  <a:moveTo>
                    <a:pt x="6993556" y="0"/>
                  </a:moveTo>
                  <a:lnTo>
                    <a:pt x="7358516" y="0"/>
                  </a:lnTo>
                  <a:lnTo>
                    <a:pt x="7475006" y="82722"/>
                  </a:lnTo>
                  <a:cubicBezTo>
                    <a:pt x="7592423" y="169778"/>
                    <a:pt x="7706366" y="261748"/>
                    <a:pt x="7816357" y="358482"/>
                  </a:cubicBezTo>
                  <a:cubicBezTo>
                    <a:pt x="8036559" y="551589"/>
                    <a:pt x="8239655" y="764905"/>
                    <a:pt x="8421752" y="995405"/>
                  </a:cubicBezTo>
                  <a:cubicBezTo>
                    <a:pt x="8604736" y="1225282"/>
                    <a:pt x="8763567" y="1474646"/>
                    <a:pt x="8897059" y="1737211"/>
                  </a:cubicBezTo>
                  <a:cubicBezTo>
                    <a:pt x="9029909" y="2000162"/>
                    <a:pt x="9134317" y="2277990"/>
                    <a:pt x="9206633" y="2564460"/>
                  </a:cubicBezTo>
                  <a:cubicBezTo>
                    <a:pt x="9242322" y="2707791"/>
                    <a:pt x="9269041" y="2853474"/>
                    <a:pt x="9286787" y="3000164"/>
                  </a:cubicBezTo>
                  <a:cubicBezTo>
                    <a:pt x="9304977" y="3146856"/>
                    <a:pt x="9314097" y="3294698"/>
                    <a:pt x="9312914" y="3442493"/>
                  </a:cubicBezTo>
                  <a:cubicBezTo>
                    <a:pt x="9309906" y="3737987"/>
                    <a:pt x="9270717" y="4033288"/>
                    <a:pt x="9190562" y="4316686"/>
                  </a:cubicBezTo>
                  <a:cubicBezTo>
                    <a:pt x="9150486" y="4458240"/>
                    <a:pt x="9103951" y="4597587"/>
                    <a:pt x="9043416" y="4734917"/>
                  </a:cubicBezTo>
                  <a:cubicBezTo>
                    <a:pt x="8982980" y="4871817"/>
                    <a:pt x="8908740" y="5007131"/>
                    <a:pt x="8809657" y="5128718"/>
                  </a:cubicBezTo>
                  <a:cubicBezTo>
                    <a:pt x="8760312" y="5189247"/>
                    <a:pt x="8706137" y="5246945"/>
                    <a:pt x="8645997" y="5297441"/>
                  </a:cubicBezTo>
                  <a:cubicBezTo>
                    <a:pt x="8586252" y="5348274"/>
                    <a:pt x="8522809" y="5393730"/>
                    <a:pt x="8457787" y="5433763"/>
                  </a:cubicBezTo>
                  <a:cubicBezTo>
                    <a:pt x="8392816" y="5474132"/>
                    <a:pt x="8326219" y="5508213"/>
                    <a:pt x="8260803" y="5541237"/>
                  </a:cubicBezTo>
                  <a:cubicBezTo>
                    <a:pt x="8195289" y="5574071"/>
                    <a:pt x="8130023" y="5604838"/>
                    <a:pt x="8066136" y="5635704"/>
                  </a:cubicBezTo>
                  <a:cubicBezTo>
                    <a:pt x="7938313" y="5697433"/>
                    <a:pt x="7815222" y="5762186"/>
                    <a:pt x="7698638" y="5837163"/>
                  </a:cubicBezTo>
                  <a:cubicBezTo>
                    <a:pt x="7582449" y="5912381"/>
                    <a:pt x="7471881" y="5996094"/>
                    <a:pt x="7370135" y="6090081"/>
                  </a:cubicBezTo>
                  <a:cubicBezTo>
                    <a:pt x="7319460" y="6136593"/>
                    <a:pt x="7268881" y="6186082"/>
                    <a:pt x="7218897" y="6235860"/>
                  </a:cubicBezTo>
                  <a:cubicBezTo>
                    <a:pt x="7168763" y="6285493"/>
                    <a:pt x="7119665" y="6336229"/>
                    <a:pt x="7070665" y="6387205"/>
                  </a:cubicBezTo>
                  <a:cubicBezTo>
                    <a:pt x="6972715" y="6489208"/>
                    <a:pt x="6876195" y="6593131"/>
                    <a:pt x="6779035" y="6697100"/>
                  </a:cubicBezTo>
                  <a:cubicBezTo>
                    <a:pt x="6730379" y="6748989"/>
                    <a:pt x="6681528" y="6800878"/>
                    <a:pt x="6631837" y="6852239"/>
                  </a:cubicBezTo>
                  <a:lnTo>
                    <a:pt x="6626221" y="6858000"/>
                  </a:lnTo>
                  <a:lnTo>
                    <a:pt x="6424725" y="6858000"/>
                  </a:lnTo>
                  <a:lnTo>
                    <a:pt x="6527382" y="6756333"/>
                  </a:lnTo>
                  <a:cubicBezTo>
                    <a:pt x="6576726" y="6705932"/>
                    <a:pt x="6625480" y="6654811"/>
                    <a:pt x="6674233" y="6603450"/>
                  </a:cubicBezTo>
                  <a:cubicBezTo>
                    <a:pt x="6771788" y="6500920"/>
                    <a:pt x="6868309" y="6396757"/>
                    <a:pt x="6965813" y="6292932"/>
                  </a:cubicBezTo>
                  <a:lnTo>
                    <a:pt x="7112961" y="6137505"/>
                  </a:lnTo>
                  <a:cubicBezTo>
                    <a:pt x="7162354" y="6085808"/>
                    <a:pt x="7211945" y="6034640"/>
                    <a:pt x="7264790" y="5983710"/>
                  </a:cubicBezTo>
                  <a:cubicBezTo>
                    <a:pt x="7472373" y="5779130"/>
                    <a:pt x="7721610" y="5610648"/>
                    <a:pt x="7974595" y="5470773"/>
                  </a:cubicBezTo>
                  <a:cubicBezTo>
                    <a:pt x="8099903" y="5399395"/>
                    <a:pt x="8224127" y="5332529"/>
                    <a:pt x="8331591" y="5254048"/>
                  </a:cubicBezTo>
                  <a:cubicBezTo>
                    <a:pt x="8439351" y="5176047"/>
                    <a:pt x="8529660" y="5085949"/>
                    <a:pt x="8599807" y="4980010"/>
                  </a:cubicBezTo>
                  <a:cubicBezTo>
                    <a:pt x="8671187" y="4875128"/>
                    <a:pt x="8723982" y="4756086"/>
                    <a:pt x="8766474" y="4631524"/>
                  </a:cubicBezTo>
                  <a:cubicBezTo>
                    <a:pt x="8808968" y="4507010"/>
                    <a:pt x="8840615" y="4375872"/>
                    <a:pt x="8865755" y="4244445"/>
                  </a:cubicBezTo>
                  <a:cubicBezTo>
                    <a:pt x="8871375" y="4211468"/>
                    <a:pt x="8878129" y="4178731"/>
                    <a:pt x="8882911" y="4145659"/>
                  </a:cubicBezTo>
                  <a:lnTo>
                    <a:pt x="8897403" y="4046633"/>
                  </a:lnTo>
                  <a:lnTo>
                    <a:pt x="8908298" y="3947271"/>
                  </a:lnTo>
                  <a:cubicBezTo>
                    <a:pt x="8912389" y="3914247"/>
                    <a:pt x="8913425" y="3880886"/>
                    <a:pt x="8916184" y="3847765"/>
                  </a:cubicBezTo>
                  <a:cubicBezTo>
                    <a:pt x="8925797" y="3715091"/>
                    <a:pt x="8925945" y="3582127"/>
                    <a:pt x="8920670" y="3449597"/>
                  </a:cubicBezTo>
                  <a:lnTo>
                    <a:pt x="8914607" y="3350283"/>
                  </a:lnTo>
                  <a:cubicBezTo>
                    <a:pt x="8911995" y="3317211"/>
                    <a:pt x="8908348" y="3284233"/>
                    <a:pt x="8905340" y="3251209"/>
                  </a:cubicBezTo>
                  <a:cubicBezTo>
                    <a:pt x="8902628" y="3218185"/>
                    <a:pt x="8897551" y="3185305"/>
                    <a:pt x="8893854" y="3152376"/>
                  </a:cubicBezTo>
                  <a:cubicBezTo>
                    <a:pt x="8890305" y="3119399"/>
                    <a:pt x="8884932" y="3086662"/>
                    <a:pt x="8879706" y="3053878"/>
                  </a:cubicBezTo>
                  <a:cubicBezTo>
                    <a:pt x="8858707" y="2922835"/>
                    <a:pt x="8831249" y="2792705"/>
                    <a:pt x="8797531" y="2663966"/>
                  </a:cubicBezTo>
                  <a:cubicBezTo>
                    <a:pt x="8728616" y="2406777"/>
                    <a:pt x="8635497" y="2155109"/>
                    <a:pt x="8520442" y="1911983"/>
                  </a:cubicBezTo>
                  <a:cubicBezTo>
                    <a:pt x="8462667" y="1790541"/>
                    <a:pt x="8400112" y="1670923"/>
                    <a:pt x="8332626" y="1553608"/>
                  </a:cubicBezTo>
                  <a:cubicBezTo>
                    <a:pt x="8265683" y="1436006"/>
                    <a:pt x="8192973" y="1321188"/>
                    <a:pt x="8116317" y="1208529"/>
                  </a:cubicBezTo>
                  <a:cubicBezTo>
                    <a:pt x="8039811" y="1095776"/>
                    <a:pt x="7958079" y="986094"/>
                    <a:pt x="7873293" y="878284"/>
                  </a:cubicBezTo>
                  <a:cubicBezTo>
                    <a:pt x="7787814" y="771002"/>
                    <a:pt x="7697999" y="666551"/>
                    <a:pt x="7604337" y="565125"/>
                  </a:cubicBezTo>
                  <a:cubicBezTo>
                    <a:pt x="7510479" y="463891"/>
                    <a:pt x="7413367" y="364818"/>
                    <a:pt x="7311128" y="270591"/>
                  </a:cubicBezTo>
                  <a:close/>
                  <a:moveTo>
                    <a:pt x="1752019" y="0"/>
                  </a:moveTo>
                  <a:lnTo>
                    <a:pt x="2155804" y="0"/>
                  </a:lnTo>
                  <a:lnTo>
                    <a:pt x="2103975" y="40789"/>
                  </a:lnTo>
                  <a:cubicBezTo>
                    <a:pt x="1943592" y="173585"/>
                    <a:pt x="1793955" y="317500"/>
                    <a:pt x="1656310" y="470035"/>
                  </a:cubicBezTo>
                  <a:cubicBezTo>
                    <a:pt x="1288172" y="876939"/>
                    <a:pt x="1002998" y="1344708"/>
                    <a:pt x="806013" y="1841133"/>
                  </a:cubicBezTo>
                  <a:cubicBezTo>
                    <a:pt x="707818" y="2089538"/>
                    <a:pt x="630868" y="2345480"/>
                    <a:pt x="580685" y="2606364"/>
                  </a:cubicBezTo>
                  <a:cubicBezTo>
                    <a:pt x="530749" y="2867250"/>
                    <a:pt x="504868" y="3132119"/>
                    <a:pt x="503489" y="3397276"/>
                  </a:cubicBezTo>
                  <a:cubicBezTo>
                    <a:pt x="501467" y="3662434"/>
                    <a:pt x="524093" y="3927351"/>
                    <a:pt x="570135" y="4188235"/>
                  </a:cubicBezTo>
                  <a:cubicBezTo>
                    <a:pt x="615734" y="4449264"/>
                    <a:pt x="688642" y="4705493"/>
                    <a:pt x="783387" y="4953850"/>
                  </a:cubicBezTo>
                  <a:cubicBezTo>
                    <a:pt x="974357" y="5449796"/>
                    <a:pt x="1259630" y="5913773"/>
                    <a:pt x="1628014" y="6308245"/>
                  </a:cubicBezTo>
                  <a:cubicBezTo>
                    <a:pt x="1812182" y="6505481"/>
                    <a:pt x="2016215" y="6685052"/>
                    <a:pt x="2235998" y="6844829"/>
                  </a:cubicBezTo>
                  <a:lnTo>
                    <a:pt x="2255028" y="6858000"/>
                  </a:lnTo>
                  <a:lnTo>
                    <a:pt x="1578787" y="6858000"/>
                  </a:lnTo>
                  <a:lnTo>
                    <a:pt x="1465153" y="6759050"/>
                  </a:lnTo>
                  <a:cubicBezTo>
                    <a:pt x="1410086" y="6708726"/>
                    <a:pt x="1356236" y="6657104"/>
                    <a:pt x="1303650" y="6604267"/>
                  </a:cubicBezTo>
                  <a:cubicBezTo>
                    <a:pt x="883506" y="6181043"/>
                    <a:pt x="548150" y="5676072"/>
                    <a:pt x="323708" y="5126365"/>
                  </a:cubicBezTo>
                  <a:cubicBezTo>
                    <a:pt x="97737" y="4577139"/>
                    <a:pt x="-10958" y="3981927"/>
                    <a:pt x="872" y="3391228"/>
                  </a:cubicBezTo>
                  <a:cubicBezTo>
                    <a:pt x="5951" y="3095783"/>
                    <a:pt x="40506" y="2800528"/>
                    <a:pt x="105428" y="2511899"/>
                  </a:cubicBezTo>
                  <a:cubicBezTo>
                    <a:pt x="170104" y="2223317"/>
                    <a:pt x="262089" y="1940399"/>
                    <a:pt x="384933" y="1670971"/>
                  </a:cubicBezTo>
                  <a:cubicBezTo>
                    <a:pt x="629092" y="1131344"/>
                    <a:pt x="991955" y="646919"/>
                    <a:pt x="1433593" y="256095"/>
                  </a:cubicBezTo>
                  <a:cubicBezTo>
                    <a:pt x="1488791" y="207206"/>
                    <a:pt x="1545179" y="159733"/>
                    <a:pt x="1602664" y="113704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740ABB98-77BA-4C40-8121-34D196E5873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59468" y="36937"/>
              <a:ext cx="9065550" cy="6858000"/>
            </a:xfrm>
            <a:custGeom>
              <a:avLst/>
              <a:gdLst>
                <a:gd name="connsiteX0" fmla="*/ 1839951 w 9065550"/>
                <a:gd name="connsiteY0" fmla="*/ 0 h 6858000"/>
                <a:gd name="connsiteX1" fmla="*/ 6979427 w 9065550"/>
                <a:gd name="connsiteY1" fmla="*/ 0 h 6858000"/>
                <a:gd name="connsiteX2" fmla="*/ 6989586 w 9065550"/>
                <a:gd name="connsiteY2" fmla="*/ 6825 h 6858000"/>
                <a:gd name="connsiteX3" fmla="*/ 8932062 w 9065550"/>
                <a:gd name="connsiteY3" fmla="*/ 4580835 h 6858000"/>
                <a:gd name="connsiteX4" fmla="*/ 7166294 w 9065550"/>
                <a:gd name="connsiteY4" fmla="*/ 6259703 h 6858000"/>
                <a:gd name="connsiteX5" fmla="*/ 6868878 w 9065550"/>
                <a:gd name="connsiteY5" fmla="*/ 6564765 h 6858000"/>
                <a:gd name="connsiteX6" fmla="*/ 6591881 w 9065550"/>
                <a:gd name="connsiteY6" fmla="*/ 6858000 h 6858000"/>
                <a:gd name="connsiteX7" fmla="*/ 5184648 w 9065550"/>
                <a:gd name="connsiteY7" fmla="*/ 6858000 h 6858000"/>
                <a:gd name="connsiteX8" fmla="*/ 5244877 w 9065550"/>
                <a:gd name="connsiteY8" fmla="*/ 6817615 h 6858000"/>
                <a:gd name="connsiteX9" fmla="*/ 6033853 w 9065550"/>
                <a:gd name="connsiteY9" fmla="*/ 6069135 h 6858000"/>
                <a:gd name="connsiteX10" fmla="*/ 6480248 w 9065550"/>
                <a:gd name="connsiteY10" fmla="*/ 5607082 h 6858000"/>
                <a:gd name="connsiteX11" fmla="*/ 7551502 w 9065550"/>
                <a:gd name="connsiteY11" fmla="*/ 4859004 h 6858000"/>
                <a:gd name="connsiteX12" fmla="*/ 7844227 w 9065550"/>
                <a:gd name="connsiteY12" fmla="*/ 4683074 h 6858000"/>
                <a:gd name="connsiteX13" fmla="*/ 8005810 w 9065550"/>
                <a:gd name="connsiteY13" fmla="*/ 4330239 h 6858000"/>
                <a:gd name="connsiteX14" fmla="*/ 8016191 w 9065550"/>
                <a:gd name="connsiteY14" fmla="*/ 2956574 h 6858000"/>
                <a:gd name="connsiteX15" fmla="*/ 7346424 w 9065550"/>
                <a:gd name="connsiteY15" fmla="*/ 1636739 h 6858000"/>
                <a:gd name="connsiteX16" fmla="*/ 5995751 w 9065550"/>
                <a:gd name="connsiteY16" fmla="*/ 493319 h 6858000"/>
                <a:gd name="connsiteX17" fmla="*/ 4494836 w 9065550"/>
                <a:gd name="connsiteY17" fmla="*/ 75383 h 6858000"/>
                <a:gd name="connsiteX18" fmla="*/ 2002499 w 9065550"/>
                <a:gd name="connsiteY18" fmla="*/ 1094261 h 6858000"/>
                <a:gd name="connsiteX19" fmla="*/ 1241306 w 9065550"/>
                <a:gd name="connsiteY19" fmla="*/ 2206935 h 6858000"/>
                <a:gd name="connsiteX20" fmla="*/ 961736 w 9065550"/>
                <a:gd name="connsiteY20" fmla="*/ 3573719 h 6858000"/>
                <a:gd name="connsiteX21" fmla="*/ 1193878 w 9065550"/>
                <a:gd name="connsiteY21" fmla="*/ 4824208 h 6858000"/>
                <a:gd name="connsiteX22" fmla="*/ 1832096 w 9065550"/>
                <a:gd name="connsiteY22" fmla="*/ 5873050 h 6858000"/>
                <a:gd name="connsiteX23" fmla="*/ 3010752 w 9065550"/>
                <a:gd name="connsiteY23" fmla="*/ 6749475 h 6858000"/>
                <a:gd name="connsiteX24" fmla="*/ 3187037 w 9065550"/>
                <a:gd name="connsiteY24" fmla="*/ 6824756 h 6858000"/>
                <a:gd name="connsiteX25" fmla="*/ 3278211 w 9065550"/>
                <a:gd name="connsiteY25" fmla="*/ 6858000 h 6858000"/>
                <a:gd name="connsiteX26" fmla="*/ 1480830 w 9065550"/>
                <a:gd name="connsiteY26" fmla="*/ 6858000 h 6858000"/>
                <a:gd name="connsiteX27" fmla="*/ 1427607 w 9065550"/>
                <a:gd name="connsiteY27" fmla="*/ 6811515 h 6858000"/>
                <a:gd name="connsiteX28" fmla="*/ 1100739 w 9065550"/>
                <a:gd name="connsiteY28" fmla="*/ 6477651 h 6858000"/>
                <a:gd name="connsiteX29" fmla="*/ 0 w 9065550"/>
                <a:gd name="connsiteY29" fmla="*/ 3573620 h 6858000"/>
                <a:gd name="connsiteX30" fmla="*/ 1805513 w 9065550"/>
                <a:gd name="connsiteY30" fmla="*/ 24133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9065550" h="6858000">
                  <a:moveTo>
                    <a:pt x="1839951" y="0"/>
                  </a:moveTo>
                  <a:lnTo>
                    <a:pt x="6979427" y="0"/>
                  </a:lnTo>
                  <a:lnTo>
                    <a:pt x="6989586" y="6825"/>
                  </a:lnTo>
                  <a:cubicBezTo>
                    <a:pt x="8438828" y="1031353"/>
                    <a:pt x="9439169" y="2823601"/>
                    <a:pt x="8932062" y="4580835"/>
                  </a:cubicBezTo>
                  <a:cubicBezTo>
                    <a:pt x="8592517" y="5757293"/>
                    <a:pt x="7979652" y="5458140"/>
                    <a:pt x="7166294" y="6259703"/>
                  </a:cubicBezTo>
                  <a:cubicBezTo>
                    <a:pt x="7064618" y="6359905"/>
                    <a:pt x="6966014" y="6462297"/>
                    <a:pt x="6868878" y="6564765"/>
                  </a:cubicBezTo>
                  <a:lnTo>
                    <a:pt x="6591881" y="6858000"/>
                  </a:lnTo>
                  <a:lnTo>
                    <a:pt x="5184648" y="6858000"/>
                  </a:lnTo>
                  <a:lnTo>
                    <a:pt x="5244877" y="6817615"/>
                  </a:lnTo>
                  <a:cubicBezTo>
                    <a:pt x="5481027" y="6649287"/>
                    <a:pt x="5723665" y="6398593"/>
                    <a:pt x="6033853" y="6069135"/>
                  </a:cubicBezTo>
                  <a:cubicBezTo>
                    <a:pt x="6175680" y="5918484"/>
                    <a:pt x="6322395" y="5762660"/>
                    <a:pt x="6480248" y="5607082"/>
                  </a:cubicBezTo>
                  <a:cubicBezTo>
                    <a:pt x="6893276" y="5200077"/>
                    <a:pt x="7273697" y="5002920"/>
                    <a:pt x="7551502" y="4859004"/>
                  </a:cubicBezTo>
                  <a:cubicBezTo>
                    <a:pt x="7687884" y="4788339"/>
                    <a:pt x="7795540" y="4732559"/>
                    <a:pt x="7844227" y="4683074"/>
                  </a:cubicBezTo>
                  <a:cubicBezTo>
                    <a:pt x="7898759" y="4627636"/>
                    <a:pt x="7956165" y="4502313"/>
                    <a:pt x="8005810" y="4330239"/>
                  </a:cubicBezTo>
                  <a:cubicBezTo>
                    <a:pt x="8132968" y="3889611"/>
                    <a:pt x="8136446" y="3427460"/>
                    <a:pt x="8016191" y="2956574"/>
                  </a:cubicBezTo>
                  <a:cubicBezTo>
                    <a:pt x="7900876" y="2505064"/>
                    <a:pt x="7669287" y="2048671"/>
                    <a:pt x="7346424" y="1636739"/>
                  </a:cubicBezTo>
                  <a:cubicBezTo>
                    <a:pt x="6979764" y="1168830"/>
                    <a:pt x="6512706" y="773489"/>
                    <a:pt x="5995751" y="493319"/>
                  </a:cubicBezTo>
                  <a:cubicBezTo>
                    <a:pt x="5491195" y="219884"/>
                    <a:pt x="4972174" y="75383"/>
                    <a:pt x="4494836" y="75383"/>
                  </a:cubicBezTo>
                  <a:cubicBezTo>
                    <a:pt x="3554318" y="75383"/>
                    <a:pt x="2669191" y="437197"/>
                    <a:pt x="2002499" y="1094261"/>
                  </a:cubicBezTo>
                  <a:cubicBezTo>
                    <a:pt x="1676360" y="1415667"/>
                    <a:pt x="1420225" y="1790023"/>
                    <a:pt x="1241306" y="2206935"/>
                  </a:cubicBezTo>
                  <a:cubicBezTo>
                    <a:pt x="1055782" y="2639169"/>
                    <a:pt x="961736" y="3099027"/>
                    <a:pt x="961736" y="3573719"/>
                  </a:cubicBezTo>
                  <a:cubicBezTo>
                    <a:pt x="961736" y="4005124"/>
                    <a:pt x="1039805" y="4425841"/>
                    <a:pt x="1193878" y="4824208"/>
                  </a:cubicBezTo>
                  <a:cubicBezTo>
                    <a:pt x="1342457" y="5208423"/>
                    <a:pt x="1557214" y="5561306"/>
                    <a:pt x="1832096" y="5873050"/>
                  </a:cubicBezTo>
                  <a:cubicBezTo>
                    <a:pt x="2157126" y="6241599"/>
                    <a:pt x="2564661" y="6544656"/>
                    <a:pt x="3010752" y="6749475"/>
                  </a:cubicBezTo>
                  <a:cubicBezTo>
                    <a:pt x="3069003" y="6776219"/>
                    <a:pt x="3127773" y="6801314"/>
                    <a:pt x="3187037" y="6824756"/>
                  </a:cubicBezTo>
                  <a:lnTo>
                    <a:pt x="3278211" y="6858000"/>
                  </a:lnTo>
                  <a:lnTo>
                    <a:pt x="1480830" y="6858000"/>
                  </a:lnTo>
                  <a:lnTo>
                    <a:pt x="1427607" y="6811515"/>
                  </a:lnTo>
                  <a:cubicBezTo>
                    <a:pt x="1312870" y="6705919"/>
                    <a:pt x="1203751" y="6594470"/>
                    <a:pt x="1100739" y="6477651"/>
                  </a:cubicBezTo>
                  <a:cubicBezTo>
                    <a:pt x="415045" y="5700097"/>
                    <a:pt x="0" y="4684635"/>
                    <a:pt x="0" y="3573620"/>
                  </a:cubicBezTo>
                  <a:cubicBezTo>
                    <a:pt x="0" y="2121118"/>
                    <a:pt x="709459" y="831902"/>
                    <a:pt x="1805513" y="24133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41AA752E-66C1-4835-8A3C-556475159D6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48217" y="36937"/>
              <a:ext cx="9088051" cy="6858000"/>
            </a:xfrm>
            <a:custGeom>
              <a:avLst/>
              <a:gdLst>
                <a:gd name="connsiteX0" fmla="*/ 5158786 w 9088051"/>
                <a:gd name="connsiteY0" fmla="*/ 0 h 6858000"/>
                <a:gd name="connsiteX1" fmla="*/ 6996771 w 9088051"/>
                <a:gd name="connsiteY1" fmla="*/ 0 h 6858000"/>
                <a:gd name="connsiteX2" fmla="*/ 7006955 w 9088051"/>
                <a:gd name="connsiteY2" fmla="*/ 6825 h 6858000"/>
                <a:gd name="connsiteX3" fmla="*/ 8954230 w 9088051"/>
                <a:gd name="connsiteY3" fmla="*/ 4580835 h 6858000"/>
                <a:gd name="connsiteX4" fmla="*/ 7184080 w 9088051"/>
                <a:gd name="connsiteY4" fmla="*/ 6259703 h 6858000"/>
                <a:gd name="connsiteX5" fmla="*/ 6885926 w 9088051"/>
                <a:gd name="connsiteY5" fmla="*/ 6564765 h 6858000"/>
                <a:gd name="connsiteX6" fmla="*/ 6608241 w 9088051"/>
                <a:gd name="connsiteY6" fmla="*/ 6858000 h 6858000"/>
                <a:gd name="connsiteX7" fmla="*/ 5462870 w 9088051"/>
                <a:gd name="connsiteY7" fmla="*/ 6858000 h 6858000"/>
                <a:gd name="connsiteX8" fmla="*/ 5529056 w 9088051"/>
                <a:gd name="connsiteY8" fmla="*/ 6804645 h 6858000"/>
                <a:gd name="connsiteX9" fmla="*/ 6167613 w 9088051"/>
                <a:gd name="connsiteY9" fmla="*/ 6173667 h 6858000"/>
                <a:gd name="connsiteX10" fmla="*/ 6610973 w 9088051"/>
                <a:gd name="connsiteY10" fmla="*/ 5715860 h 6858000"/>
                <a:gd name="connsiteX11" fmla="*/ 7646083 w 9088051"/>
                <a:gd name="connsiteY11" fmla="*/ 4995842 h 6858000"/>
                <a:gd name="connsiteX12" fmla="*/ 7980054 w 9088051"/>
                <a:gd name="connsiteY12" fmla="*/ 4790095 h 6858000"/>
                <a:gd name="connsiteX13" fmla="*/ 8180437 w 9088051"/>
                <a:gd name="connsiteY13" fmla="*/ 4371964 h 6858000"/>
                <a:gd name="connsiteX14" fmla="*/ 8192058 w 9088051"/>
                <a:gd name="connsiteY14" fmla="*/ 2919242 h 6858000"/>
                <a:gd name="connsiteX15" fmla="*/ 7492638 w 9088051"/>
                <a:gd name="connsiteY15" fmla="*/ 1542845 h 6858000"/>
                <a:gd name="connsiteX16" fmla="*/ 6089097 w 9088051"/>
                <a:gd name="connsiteY16" fmla="*/ 357847 h 6858000"/>
                <a:gd name="connsiteX17" fmla="*/ 5288639 w 9088051"/>
                <a:gd name="connsiteY17" fmla="*/ 31627 h 6858000"/>
                <a:gd name="connsiteX18" fmla="*/ 1844517 w 9088051"/>
                <a:gd name="connsiteY18" fmla="*/ 0 h 6858000"/>
                <a:gd name="connsiteX19" fmla="*/ 3734467 w 9088051"/>
                <a:gd name="connsiteY19" fmla="*/ 0 h 6858000"/>
                <a:gd name="connsiteX20" fmla="*/ 3603618 w 9088051"/>
                <a:gd name="connsiteY20" fmla="*/ 28853 h 6858000"/>
                <a:gd name="connsiteX21" fmla="*/ 1892878 w 9088051"/>
                <a:gd name="connsiteY21" fmla="*/ 985434 h 6858000"/>
                <a:gd name="connsiteX22" fmla="*/ 1096045 w 9088051"/>
                <a:gd name="connsiteY22" fmla="*/ 2147349 h 6858000"/>
                <a:gd name="connsiteX23" fmla="*/ 803453 w 9088051"/>
                <a:gd name="connsiteY23" fmla="*/ 3573669 h 6858000"/>
                <a:gd name="connsiteX24" fmla="*/ 1046377 w 9088051"/>
                <a:gd name="connsiteY24" fmla="*/ 4878573 h 6858000"/>
                <a:gd name="connsiteX25" fmla="*/ 1714473 w 9088051"/>
                <a:gd name="connsiteY25" fmla="*/ 5973776 h 6858000"/>
                <a:gd name="connsiteX26" fmla="*/ 2776083 w 9088051"/>
                <a:gd name="connsiteY26" fmla="*/ 6804641 h 6858000"/>
                <a:gd name="connsiteX27" fmla="*/ 2884836 w 9088051"/>
                <a:gd name="connsiteY27" fmla="*/ 6858000 h 6858000"/>
                <a:gd name="connsiteX28" fmla="*/ 1484505 w 9088051"/>
                <a:gd name="connsiteY28" fmla="*/ 6858000 h 6858000"/>
                <a:gd name="connsiteX29" fmla="*/ 1431151 w 9088051"/>
                <a:gd name="connsiteY29" fmla="*/ 6811515 h 6858000"/>
                <a:gd name="connsiteX30" fmla="*/ 1103471 w 9088051"/>
                <a:gd name="connsiteY30" fmla="*/ 6477651 h 6858000"/>
                <a:gd name="connsiteX31" fmla="*/ 0 w 9088051"/>
                <a:gd name="connsiteY31" fmla="*/ 3573620 h 6858000"/>
                <a:gd name="connsiteX32" fmla="*/ 1809994 w 9088051"/>
                <a:gd name="connsiteY32" fmla="*/ 24133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9088051" h="6858000">
                  <a:moveTo>
                    <a:pt x="5158786" y="0"/>
                  </a:moveTo>
                  <a:lnTo>
                    <a:pt x="6996771" y="0"/>
                  </a:lnTo>
                  <a:lnTo>
                    <a:pt x="7006955" y="6825"/>
                  </a:lnTo>
                  <a:cubicBezTo>
                    <a:pt x="8459794" y="1031353"/>
                    <a:pt x="9462596" y="2823601"/>
                    <a:pt x="8954230" y="4580835"/>
                  </a:cubicBezTo>
                  <a:cubicBezTo>
                    <a:pt x="8613842" y="5757293"/>
                    <a:pt x="7999457" y="5458140"/>
                    <a:pt x="7184080" y="6259703"/>
                  </a:cubicBezTo>
                  <a:cubicBezTo>
                    <a:pt x="7082152" y="6359905"/>
                    <a:pt x="6983303" y="6462297"/>
                    <a:pt x="6885926" y="6564765"/>
                  </a:cubicBezTo>
                  <a:lnTo>
                    <a:pt x="6608241" y="6858000"/>
                  </a:lnTo>
                  <a:lnTo>
                    <a:pt x="5462870" y="6858000"/>
                  </a:lnTo>
                  <a:lnTo>
                    <a:pt x="5529056" y="6804645"/>
                  </a:lnTo>
                  <a:cubicBezTo>
                    <a:pt x="5740217" y="6626505"/>
                    <a:pt x="5949382" y="6404876"/>
                    <a:pt x="6167613" y="6173667"/>
                  </a:cubicBezTo>
                  <a:cubicBezTo>
                    <a:pt x="6308782" y="6024091"/>
                    <a:pt x="6454799" y="5869390"/>
                    <a:pt x="6610973" y="5715860"/>
                  </a:cubicBezTo>
                  <a:cubicBezTo>
                    <a:pt x="7007847" y="5325741"/>
                    <a:pt x="7376733" y="5135074"/>
                    <a:pt x="7646083" y="4995842"/>
                  </a:cubicBezTo>
                  <a:cubicBezTo>
                    <a:pt x="7816858" y="4907561"/>
                    <a:pt x="7916545" y="4854514"/>
                    <a:pt x="7980054" y="4790095"/>
                  </a:cubicBezTo>
                  <a:cubicBezTo>
                    <a:pt x="8054629" y="4714405"/>
                    <a:pt x="8122031" y="4573758"/>
                    <a:pt x="8180437" y="4371964"/>
                  </a:cubicBezTo>
                  <a:cubicBezTo>
                    <a:pt x="8315441" y="3905228"/>
                    <a:pt x="8319381" y="3416431"/>
                    <a:pt x="8192058" y="2919242"/>
                  </a:cubicBezTo>
                  <a:cubicBezTo>
                    <a:pt x="8071251" y="2447381"/>
                    <a:pt x="7829388" y="1971467"/>
                    <a:pt x="7492638" y="1542845"/>
                  </a:cubicBezTo>
                  <a:cubicBezTo>
                    <a:pt x="7111829" y="1058099"/>
                    <a:pt x="6626484" y="648361"/>
                    <a:pt x="6089097" y="357847"/>
                  </a:cubicBezTo>
                  <a:cubicBezTo>
                    <a:pt x="5824244" y="214687"/>
                    <a:pt x="5554957" y="105262"/>
                    <a:pt x="5288639" y="31627"/>
                  </a:cubicBezTo>
                  <a:close/>
                  <a:moveTo>
                    <a:pt x="1844517" y="0"/>
                  </a:moveTo>
                  <a:lnTo>
                    <a:pt x="3734467" y="0"/>
                  </a:lnTo>
                  <a:lnTo>
                    <a:pt x="3603618" y="28853"/>
                  </a:lnTo>
                  <a:cubicBezTo>
                    <a:pt x="2962049" y="186733"/>
                    <a:pt x="2373277" y="513136"/>
                    <a:pt x="1892878" y="985434"/>
                  </a:cubicBezTo>
                  <a:cubicBezTo>
                    <a:pt x="1551428" y="1321091"/>
                    <a:pt x="1283341" y="1711990"/>
                    <a:pt x="1096045" y="2147349"/>
                  </a:cubicBezTo>
                  <a:cubicBezTo>
                    <a:pt x="901876" y="2598519"/>
                    <a:pt x="803453" y="3078432"/>
                    <a:pt x="803453" y="3573669"/>
                  </a:cubicBezTo>
                  <a:cubicBezTo>
                    <a:pt x="803453" y="4023717"/>
                    <a:pt x="885151" y="4462735"/>
                    <a:pt x="1046377" y="4878573"/>
                  </a:cubicBezTo>
                  <a:cubicBezTo>
                    <a:pt x="1201945" y="5279770"/>
                    <a:pt x="1426681" y="5648221"/>
                    <a:pt x="1714473" y="5973776"/>
                  </a:cubicBezTo>
                  <a:cubicBezTo>
                    <a:pt x="2012357" y="6310732"/>
                    <a:pt x="2376505" y="6595304"/>
                    <a:pt x="2776083" y="6804641"/>
                  </a:cubicBezTo>
                  <a:lnTo>
                    <a:pt x="2884836" y="6858000"/>
                  </a:lnTo>
                  <a:lnTo>
                    <a:pt x="1484505" y="6858000"/>
                  </a:lnTo>
                  <a:lnTo>
                    <a:pt x="1431151" y="6811515"/>
                  </a:lnTo>
                  <a:cubicBezTo>
                    <a:pt x="1316128" y="6705919"/>
                    <a:pt x="1206738" y="6594470"/>
                    <a:pt x="1103471" y="6477651"/>
                  </a:cubicBezTo>
                  <a:cubicBezTo>
                    <a:pt x="416075" y="5700097"/>
                    <a:pt x="0" y="4684635"/>
                    <a:pt x="0" y="3573620"/>
                  </a:cubicBezTo>
                  <a:cubicBezTo>
                    <a:pt x="0" y="2121118"/>
                    <a:pt x="711220" y="831902"/>
                    <a:pt x="1809994" y="24133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EE9555AB-2295-4939-AEC9-B2CBFCB4CC7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29061" y="36937"/>
              <a:ext cx="9107210" cy="6858000"/>
            </a:xfrm>
            <a:custGeom>
              <a:avLst/>
              <a:gdLst>
                <a:gd name="connsiteX0" fmla="*/ 6184722 w 9107210"/>
                <a:gd name="connsiteY0" fmla="*/ 0 h 6858000"/>
                <a:gd name="connsiteX1" fmla="*/ 6985680 w 9107210"/>
                <a:gd name="connsiteY1" fmla="*/ 0 h 6858000"/>
                <a:gd name="connsiteX2" fmla="*/ 7324323 w 9107210"/>
                <a:gd name="connsiteY2" fmla="*/ 247136 h 6858000"/>
                <a:gd name="connsiteX3" fmla="*/ 7652712 w 9107210"/>
                <a:gd name="connsiteY3" fmla="*/ 528495 h 6858000"/>
                <a:gd name="connsiteX4" fmla="*/ 8236677 w 9107210"/>
                <a:gd name="connsiteY4" fmla="*/ 1166289 h 6858000"/>
                <a:gd name="connsiteX5" fmla="*/ 8704298 w 9107210"/>
                <a:gd name="connsiteY5" fmla="*/ 1897038 h 6858000"/>
                <a:gd name="connsiteX6" fmla="*/ 8885160 w 9107210"/>
                <a:gd name="connsiteY6" fmla="*/ 2294087 h 6858000"/>
                <a:gd name="connsiteX7" fmla="*/ 8924247 w 9107210"/>
                <a:gd name="connsiteY7" fmla="*/ 2396286 h 6858000"/>
                <a:gd name="connsiteX8" fmla="*/ 8960022 w 9107210"/>
                <a:gd name="connsiteY8" fmla="*/ 2499767 h 6858000"/>
                <a:gd name="connsiteX9" fmla="*/ 8991720 w 9107210"/>
                <a:gd name="connsiteY9" fmla="*/ 2604671 h 6858000"/>
                <a:gd name="connsiteX10" fmla="*/ 9019646 w 9107210"/>
                <a:gd name="connsiteY10" fmla="*/ 2710708 h 6858000"/>
                <a:gd name="connsiteX11" fmla="*/ 9105822 w 9107210"/>
                <a:gd name="connsiteY11" fmla="*/ 3582266 h 6858000"/>
                <a:gd name="connsiteX12" fmla="*/ 9057716 w 9107210"/>
                <a:gd name="connsiteY12" fmla="*/ 4017873 h 6858000"/>
                <a:gd name="connsiteX13" fmla="*/ 8945600 w 9107210"/>
                <a:gd name="connsiteY13" fmla="*/ 4439659 h 6858000"/>
                <a:gd name="connsiteX14" fmla="*/ 8796080 w 9107210"/>
                <a:gd name="connsiteY14" fmla="*/ 4847428 h 6858000"/>
                <a:gd name="connsiteX15" fmla="*/ 8702056 w 9107210"/>
                <a:gd name="connsiteY15" fmla="*/ 5050108 h 6858000"/>
                <a:gd name="connsiteX16" fmla="*/ 8581125 w 9107210"/>
                <a:gd name="connsiteY16" fmla="*/ 5247525 h 6858000"/>
                <a:gd name="connsiteX17" fmla="*/ 8426254 w 9107210"/>
                <a:gd name="connsiteY17" fmla="*/ 5429647 h 6858000"/>
                <a:gd name="connsiteX18" fmla="*/ 8337174 w 9107210"/>
                <a:gd name="connsiteY18" fmla="*/ 5510552 h 6858000"/>
                <a:gd name="connsiteX19" fmla="*/ 8243200 w 9107210"/>
                <a:gd name="connsiteY19" fmla="*/ 5582948 h 6858000"/>
                <a:gd name="connsiteX20" fmla="*/ 7868330 w 9107210"/>
                <a:gd name="connsiteY20" fmla="*/ 5811104 h 6858000"/>
                <a:gd name="connsiteX21" fmla="*/ 7538916 w 9107210"/>
                <a:gd name="connsiteY21" fmla="*/ 6018899 h 6858000"/>
                <a:gd name="connsiteX22" fmla="*/ 7391280 w 9107210"/>
                <a:gd name="connsiteY22" fmla="*/ 6134132 h 6858000"/>
                <a:gd name="connsiteX23" fmla="*/ 7252511 w 9107210"/>
                <a:gd name="connsiteY23" fmla="*/ 6259105 h 6858000"/>
                <a:gd name="connsiteX24" fmla="*/ 7185601 w 9107210"/>
                <a:gd name="connsiteY24" fmla="*/ 6325894 h 6858000"/>
                <a:gd name="connsiteX25" fmla="*/ 7116651 w 9107210"/>
                <a:gd name="connsiteY25" fmla="*/ 6397010 h 6858000"/>
                <a:gd name="connsiteX26" fmla="*/ 6978545 w 9107210"/>
                <a:gd name="connsiteY26" fmla="*/ 6541607 h 6858000"/>
                <a:gd name="connsiteX27" fmla="*/ 6693009 w 9107210"/>
                <a:gd name="connsiteY27" fmla="*/ 6832716 h 6858000"/>
                <a:gd name="connsiteX28" fmla="*/ 6667488 w 9107210"/>
                <a:gd name="connsiteY28" fmla="*/ 6858000 h 6858000"/>
                <a:gd name="connsiteX29" fmla="*/ 6056793 w 9107210"/>
                <a:gd name="connsiteY29" fmla="*/ 6858000 h 6858000"/>
                <a:gd name="connsiteX30" fmla="*/ 6077345 w 9107210"/>
                <a:gd name="connsiteY30" fmla="*/ 6835420 h 6858000"/>
                <a:gd name="connsiteX31" fmla="*/ 6208519 w 9107210"/>
                <a:gd name="connsiteY31" fmla="*/ 6683989 h 6858000"/>
                <a:gd name="connsiteX32" fmla="*/ 6340001 w 9107210"/>
                <a:gd name="connsiteY32" fmla="*/ 6529852 h 6858000"/>
                <a:gd name="connsiteX33" fmla="*/ 6611419 w 9107210"/>
                <a:gd name="connsiteY33" fmla="*/ 6219317 h 6858000"/>
                <a:gd name="connsiteX34" fmla="*/ 6757678 w 9107210"/>
                <a:gd name="connsiteY34" fmla="*/ 6068228 h 6858000"/>
                <a:gd name="connsiteX35" fmla="*/ 6833713 w 9107210"/>
                <a:gd name="connsiteY35" fmla="*/ 5994061 h 6858000"/>
                <a:gd name="connsiteX36" fmla="*/ 6915148 w 9107210"/>
                <a:gd name="connsiteY36" fmla="*/ 5918812 h 6858000"/>
                <a:gd name="connsiteX37" fmla="*/ 7276311 w 9107210"/>
                <a:gd name="connsiteY37" fmla="*/ 5650229 h 6858000"/>
                <a:gd name="connsiteX38" fmla="*/ 7664942 w 9107210"/>
                <a:gd name="connsiteY38" fmla="*/ 5445681 h 6858000"/>
                <a:gd name="connsiteX39" fmla="*/ 7848505 w 9107210"/>
                <a:gd name="connsiteY39" fmla="*/ 5358333 h 6858000"/>
                <a:gd name="connsiteX40" fmla="*/ 8011785 w 9107210"/>
                <a:gd name="connsiteY40" fmla="*/ 5267788 h 6858000"/>
                <a:gd name="connsiteX41" fmla="*/ 8260273 w 9107210"/>
                <a:gd name="connsiteY41" fmla="*/ 5034370 h 6858000"/>
                <a:gd name="connsiteX42" fmla="*/ 8417589 w 9107210"/>
                <a:gd name="connsiteY42" fmla="*/ 4714488 h 6858000"/>
                <a:gd name="connsiteX43" fmla="*/ 8495000 w 9107210"/>
                <a:gd name="connsiteY43" fmla="*/ 4346409 h 6858000"/>
                <a:gd name="connsiteX44" fmla="*/ 8508556 w 9107210"/>
                <a:gd name="connsiteY44" fmla="*/ 3971101 h 6858000"/>
                <a:gd name="connsiteX45" fmla="*/ 8483330 w 9107210"/>
                <a:gd name="connsiteY45" fmla="*/ 3600710 h 6858000"/>
                <a:gd name="connsiteX46" fmla="*/ 8425336 w 9107210"/>
                <a:gd name="connsiteY46" fmla="*/ 3236121 h 6858000"/>
                <a:gd name="connsiteX47" fmla="*/ 8334575 w 9107210"/>
                <a:gd name="connsiteY47" fmla="*/ 2877977 h 6858000"/>
                <a:gd name="connsiteX48" fmla="*/ 8087513 w 9107210"/>
                <a:gd name="connsiteY48" fmla="*/ 2174622 h 6858000"/>
                <a:gd name="connsiteX49" fmla="*/ 7723650 w 9107210"/>
                <a:gd name="connsiteY49" fmla="*/ 1507613 h 6858000"/>
                <a:gd name="connsiteX50" fmla="*/ 7501815 w 9107210"/>
                <a:gd name="connsiteY50" fmla="*/ 1192947 h 6858000"/>
                <a:gd name="connsiteX51" fmla="*/ 7254399 w 9107210"/>
                <a:gd name="connsiteY51" fmla="*/ 894361 h 6858000"/>
                <a:gd name="connsiteX52" fmla="*/ 6689339 w 9107210"/>
                <a:gd name="connsiteY52" fmla="*/ 354046 h 6858000"/>
                <a:gd name="connsiteX53" fmla="*/ 6206651 w 9107210"/>
                <a:gd name="connsiteY53" fmla="*/ 12626 h 6858000"/>
                <a:gd name="connsiteX54" fmla="*/ 1827105 w 9107210"/>
                <a:gd name="connsiteY54" fmla="*/ 0 h 6858000"/>
                <a:gd name="connsiteX55" fmla="*/ 2807607 w 9107210"/>
                <a:gd name="connsiteY55" fmla="*/ 0 h 6858000"/>
                <a:gd name="connsiteX56" fmla="*/ 2667958 w 9107210"/>
                <a:gd name="connsiteY56" fmla="*/ 88235 h 6858000"/>
                <a:gd name="connsiteX57" fmla="*/ 2354723 w 9107210"/>
                <a:gd name="connsiteY57" fmla="*/ 314947 h 6858000"/>
                <a:gd name="connsiteX58" fmla="*/ 2059963 w 9107210"/>
                <a:gd name="connsiteY58" fmla="*/ 561545 h 6858000"/>
                <a:gd name="connsiteX59" fmla="*/ 1780798 w 9107210"/>
                <a:gd name="connsiteY59" fmla="*/ 824425 h 6858000"/>
                <a:gd name="connsiteX60" fmla="*/ 954714 w 9107210"/>
                <a:gd name="connsiteY60" fmla="*/ 2094309 h 6858000"/>
                <a:gd name="connsiteX61" fmla="*/ 732676 w 9107210"/>
                <a:gd name="connsiteY61" fmla="*/ 2813646 h 6858000"/>
                <a:gd name="connsiteX62" fmla="*/ 673867 w 9107210"/>
                <a:gd name="connsiteY62" fmla="*/ 3183989 h 6858000"/>
                <a:gd name="connsiteX63" fmla="*/ 647621 w 9107210"/>
                <a:gd name="connsiteY63" fmla="*/ 3557281 h 6858000"/>
                <a:gd name="connsiteX64" fmla="*/ 653381 w 9107210"/>
                <a:gd name="connsiteY64" fmla="*/ 3931214 h 6858000"/>
                <a:gd name="connsiteX65" fmla="*/ 690428 w 9107210"/>
                <a:gd name="connsiteY65" fmla="*/ 4303719 h 6858000"/>
                <a:gd name="connsiteX66" fmla="*/ 871801 w 9107210"/>
                <a:gd name="connsiteY66" fmla="*/ 5033041 h 6858000"/>
                <a:gd name="connsiteX67" fmla="*/ 1197749 w 9107210"/>
                <a:gd name="connsiteY67" fmla="*/ 5718494 h 6858000"/>
                <a:gd name="connsiteX68" fmla="*/ 1411480 w 9107210"/>
                <a:gd name="connsiteY68" fmla="*/ 6036703 h 6858000"/>
                <a:gd name="connsiteX69" fmla="*/ 1530170 w 9107210"/>
                <a:gd name="connsiteY69" fmla="*/ 6188430 h 6858000"/>
                <a:gd name="connsiteX70" fmla="*/ 1657165 w 9107210"/>
                <a:gd name="connsiteY70" fmla="*/ 6335385 h 6858000"/>
                <a:gd name="connsiteX71" fmla="*/ 1931343 w 9107210"/>
                <a:gd name="connsiteY71" fmla="*/ 6612896 h 6858000"/>
                <a:gd name="connsiteX72" fmla="*/ 2220133 w 9107210"/>
                <a:gd name="connsiteY72" fmla="*/ 6858000 h 6858000"/>
                <a:gd name="connsiteX73" fmla="*/ 1539862 w 9107210"/>
                <a:gd name="connsiteY73" fmla="*/ 6858000 h 6858000"/>
                <a:gd name="connsiteX74" fmla="*/ 1307111 w 9107210"/>
                <a:gd name="connsiteY74" fmla="*/ 6648873 h 6858000"/>
                <a:gd name="connsiteX75" fmla="*/ 750258 w 9107210"/>
                <a:gd name="connsiteY75" fmla="*/ 5987570 h 6858000"/>
                <a:gd name="connsiteX76" fmla="*/ 335382 w 9107210"/>
                <a:gd name="connsiteY76" fmla="*/ 5229279 h 6858000"/>
                <a:gd name="connsiteX77" fmla="*/ 79351 w 9107210"/>
                <a:gd name="connsiteY77" fmla="*/ 4403854 h 6858000"/>
                <a:gd name="connsiteX78" fmla="*/ 16007 w 9107210"/>
                <a:gd name="connsiteY78" fmla="*/ 3975723 h 6858000"/>
                <a:gd name="connsiteX79" fmla="*/ 871 w 9107210"/>
                <a:gd name="connsiteY79" fmla="*/ 3543362 h 6858000"/>
                <a:gd name="connsiteX80" fmla="*/ 32519 w 9107210"/>
                <a:gd name="connsiteY80" fmla="*/ 3112085 h 6858000"/>
                <a:gd name="connsiteX81" fmla="*/ 108502 w 9107210"/>
                <a:gd name="connsiteY81" fmla="*/ 2686511 h 6858000"/>
                <a:gd name="connsiteX82" fmla="*/ 378239 w 9107210"/>
                <a:gd name="connsiteY82" fmla="*/ 1865955 h 6858000"/>
                <a:gd name="connsiteX83" fmla="*/ 1343701 w 9107210"/>
                <a:gd name="connsiteY83" fmla="*/ 431508 h 6858000"/>
                <a:gd name="connsiteX84" fmla="*/ 1661853 w 9107210"/>
                <a:gd name="connsiteY84" fmla="*/ 130268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</a:cxnLst>
              <a:rect l="l" t="t" r="r" b="b"/>
              <a:pathLst>
                <a:path w="9107210" h="6858000">
                  <a:moveTo>
                    <a:pt x="6184722" y="0"/>
                  </a:moveTo>
                  <a:lnTo>
                    <a:pt x="6985680" y="0"/>
                  </a:lnTo>
                  <a:lnTo>
                    <a:pt x="7324323" y="247136"/>
                  </a:lnTo>
                  <a:cubicBezTo>
                    <a:pt x="7437502" y="336500"/>
                    <a:pt x="7547171" y="430254"/>
                    <a:pt x="7652712" y="528495"/>
                  </a:cubicBezTo>
                  <a:cubicBezTo>
                    <a:pt x="7863743" y="724929"/>
                    <a:pt x="8060097" y="937593"/>
                    <a:pt x="8236677" y="1166289"/>
                  </a:cubicBezTo>
                  <a:cubicBezTo>
                    <a:pt x="8413818" y="1394594"/>
                    <a:pt x="8570168" y="1639471"/>
                    <a:pt x="8704298" y="1897038"/>
                  </a:cubicBezTo>
                  <a:cubicBezTo>
                    <a:pt x="8770803" y="2026141"/>
                    <a:pt x="8830836" y="2158786"/>
                    <a:pt x="8885160" y="2294087"/>
                  </a:cubicBezTo>
                  <a:cubicBezTo>
                    <a:pt x="8898360" y="2328071"/>
                    <a:pt x="8912169" y="2361810"/>
                    <a:pt x="8924247" y="2396286"/>
                  </a:cubicBezTo>
                  <a:lnTo>
                    <a:pt x="8960022" y="2499767"/>
                  </a:lnTo>
                  <a:lnTo>
                    <a:pt x="8991720" y="2604671"/>
                  </a:lnTo>
                  <a:cubicBezTo>
                    <a:pt x="9002116" y="2639690"/>
                    <a:pt x="9010474" y="2675346"/>
                    <a:pt x="9019646" y="2710708"/>
                  </a:cubicBezTo>
                  <a:cubicBezTo>
                    <a:pt x="9089055" y="2995079"/>
                    <a:pt x="9113620" y="3289927"/>
                    <a:pt x="9105822" y="3582266"/>
                  </a:cubicBezTo>
                  <a:cubicBezTo>
                    <a:pt x="9101796" y="3728484"/>
                    <a:pt x="9085744" y="3874458"/>
                    <a:pt x="9057716" y="4017873"/>
                  </a:cubicBezTo>
                  <a:cubicBezTo>
                    <a:pt x="9029534" y="4161336"/>
                    <a:pt x="8990497" y="4302046"/>
                    <a:pt x="8945600" y="4439659"/>
                  </a:cubicBezTo>
                  <a:cubicBezTo>
                    <a:pt x="8900857" y="4577566"/>
                    <a:pt x="8852901" y="4711784"/>
                    <a:pt x="8796080" y="4847428"/>
                  </a:cubicBezTo>
                  <a:cubicBezTo>
                    <a:pt x="8767695" y="4915152"/>
                    <a:pt x="8737016" y="4982926"/>
                    <a:pt x="8702056" y="5050108"/>
                  </a:cubicBezTo>
                  <a:cubicBezTo>
                    <a:pt x="8666485" y="5116997"/>
                    <a:pt x="8627347" y="5183687"/>
                    <a:pt x="8581125" y="5247525"/>
                  </a:cubicBezTo>
                  <a:cubicBezTo>
                    <a:pt x="8535565" y="5311660"/>
                    <a:pt x="8483534" y="5373185"/>
                    <a:pt x="8426254" y="5429647"/>
                  </a:cubicBezTo>
                  <a:cubicBezTo>
                    <a:pt x="8397512" y="5457779"/>
                    <a:pt x="8367801" y="5484879"/>
                    <a:pt x="8337174" y="5510552"/>
                  </a:cubicBezTo>
                  <a:cubicBezTo>
                    <a:pt x="8306444" y="5536077"/>
                    <a:pt x="8274899" y="5560029"/>
                    <a:pt x="8243200" y="5582948"/>
                  </a:cubicBezTo>
                  <a:cubicBezTo>
                    <a:pt x="8115543" y="5674574"/>
                    <a:pt x="7986203" y="5743233"/>
                    <a:pt x="7868330" y="5811104"/>
                  </a:cubicBezTo>
                  <a:cubicBezTo>
                    <a:pt x="7749844" y="5878385"/>
                    <a:pt x="7640685" y="5945126"/>
                    <a:pt x="7538916" y="6018899"/>
                  </a:cubicBezTo>
                  <a:cubicBezTo>
                    <a:pt x="7487749" y="6055392"/>
                    <a:pt x="7438777" y="6093950"/>
                    <a:pt x="7391280" y="6134132"/>
                  </a:cubicBezTo>
                  <a:cubicBezTo>
                    <a:pt x="7343427" y="6173921"/>
                    <a:pt x="7297511" y="6215922"/>
                    <a:pt x="7252511" y="6259105"/>
                  </a:cubicBezTo>
                  <a:cubicBezTo>
                    <a:pt x="7229784" y="6280990"/>
                    <a:pt x="7208635" y="6302433"/>
                    <a:pt x="7185601" y="6325894"/>
                  </a:cubicBezTo>
                  <a:lnTo>
                    <a:pt x="7116651" y="6397010"/>
                  </a:lnTo>
                  <a:lnTo>
                    <a:pt x="6978545" y="6541607"/>
                  </a:lnTo>
                  <a:cubicBezTo>
                    <a:pt x="6885693" y="6638397"/>
                    <a:pt x="6789885" y="6734943"/>
                    <a:pt x="6693009" y="6832716"/>
                  </a:cubicBezTo>
                  <a:lnTo>
                    <a:pt x="6667488" y="6858000"/>
                  </a:lnTo>
                  <a:lnTo>
                    <a:pt x="6056793" y="6858000"/>
                  </a:lnTo>
                  <a:lnTo>
                    <a:pt x="6077345" y="6835420"/>
                  </a:lnTo>
                  <a:cubicBezTo>
                    <a:pt x="6121427" y="6785747"/>
                    <a:pt x="6164948" y="6735090"/>
                    <a:pt x="6208519" y="6683989"/>
                  </a:cubicBezTo>
                  <a:lnTo>
                    <a:pt x="6340001" y="6529852"/>
                  </a:lnTo>
                  <a:cubicBezTo>
                    <a:pt x="6428315" y="6426667"/>
                    <a:pt x="6516733" y="6321417"/>
                    <a:pt x="6611419" y="6219317"/>
                  </a:cubicBezTo>
                  <a:cubicBezTo>
                    <a:pt x="6658864" y="6168363"/>
                    <a:pt x="6707584" y="6117950"/>
                    <a:pt x="6757678" y="6068228"/>
                  </a:cubicBezTo>
                  <a:lnTo>
                    <a:pt x="6833713" y="5994061"/>
                  </a:lnTo>
                  <a:cubicBezTo>
                    <a:pt x="6859346" y="5969422"/>
                    <a:pt x="6887579" y="5943404"/>
                    <a:pt x="6915148" y="5918812"/>
                  </a:cubicBezTo>
                  <a:cubicBezTo>
                    <a:pt x="7026295" y="5819219"/>
                    <a:pt x="7148602" y="5729117"/>
                    <a:pt x="7276311" y="5650229"/>
                  </a:cubicBezTo>
                  <a:cubicBezTo>
                    <a:pt x="7403918" y="5571046"/>
                    <a:pt x="7537794" y="5505190"/>
                    <a:pt x="7664942" y="5445681"/>
                  </a:cubicBezTo>
                  <a:cubicBezTo>
                    <a:pt x="7728491" y="5416024"/>
                    <a:pt x="7790410" y="5387449"/>
                    <a:pt x="7848505" y="5358333"/>
                  </a:cubicBezTo>
                  <a:cubicBezTo>
                    <a:pt x="7906805" y="5329315"/>
                    <a:pt x="7961843" y="5300101"/>
                    <a:pt x="8011785" y="5267788"/>
                  </a:cubicBezTo>
                  <a:cubicBezTo>
                    <a:pt x="8112281" y="5203950"/>
                    <a:pt x="8193615" y="5128111"/>
                    <a:pt x="8260273" y="5034370"/>
                  </a:cubicBezTo>
                  <a:cubicBezTo>
                    <a:pt x="8326370" y="4940776"/>
                    <a:pt x="8378657" y="4831640"/>
                    <a:pt x="8417589" y="4714488"/>
                  </a:cubicBezTo>
                  <a:cubicBezTo>
                    <a:pt x="8456372" y="4597485"/>
                    <a:pt x="8481140" y="4471332"/>
                    <a:pt x="8495000" y="4346409"/>
                  </a:cubicBezTo>
                  <a:cubicBezTo>
                    <a:pt x="8508404" y="4221044"/>
                    <a:pt x="8511359" y="4095482"/>
                    <a:pt x="8508556" y="3971101"/>
                  </a:cubicBezTo>
                  <a:cubicBezTo>
                    <a:pt x="8504530" y="3846571"/>
                    <a:pt x="8495663" y="3723222"/>
                    <a:pt x="8483330" y="3600710"/>
                  </a:cubicBezTo>
                  <a:cubicBezTo>
                    <a:pt x="8470793" y="3478148"/>
                    <a:pt x="8451888" y="3356421"/>
                    <a:pt x="8425336" y="3236121"/>
                  </a:cubicBezTo>
                  <a:cubicBezTo>
                    <a:pt x="8399091" y="3115774"/>
                    <a:pt x="8367801" y="2996655"/>
                    <a:pt x="8334575" y="2877977"/>
                  </a:cubicBezTo>
                  <a:cubicBezTo>
                    <a:pt x="8268222" y="2640772"/>
                    <a:pt x="8190100" y="2404057"/>
                    <a:pt x="8087513" y="2174622"/>
                  </a:cubicBezTo>
                  <a:cubicBezTo>
                    <a:pt x="7985081" y="1945237"/>
                    <a:pt x="7863233" y="1721900"/>
                    <a:pt x="7723650" y="1507613"/>
                  </a:cubicBezTo>
                  <a:cubicBezTo>
                    <a:pt x="7653527" y="1400692"/>
                    <a:pt x="7579684" y="1295589"/>
                    <a:pt x="7501815" y="1192947"/>
                  </a:cubicBezTo>
                  <a:cubicBezTo>
                    <a:pt x="7423844" y="1090353"/>
                    <a:pt x="7340778" y="991103"/>
                    <a:pt x="7254399" y="894361"/>
                  </a:cubicBezTo>
                  <a:cubicBezTo>
                    <a:pt x="7082047" y="700485"/>
                    <a:pt x="6893083" y="519052"/>
                    <a:pt x="6689339" y="354046"/>
                  </a:cubicBezTo>
                  <a:cubicBezTo>
                    <a:pt x="6536914" y="229775"/>
                    <a:pt x="6375602" y="115325"/>
                    <a:pt x="6206651" y="12626"/>
                  </a:cubicBezTo>
                  <a:close/>
                  <a:moveTo>
                    <a:pt x="1827105" y="0"/>
                  </a:moveTo>
                  <a:lnTo>
                    <a:pt x="2807607" y="0"/>
                  </a:lnTo>
                  <a:lnTo>
                    <a:pt x="2667958" y="88235"/>
                  </a:lnTo>
                  <a:cubicBezTo>
                    <a:pt x="2560098" y="159777"/>
                    <a:pt x="2455754" y="235690"/>
                    <a:pt x="2354723" y="314947"/>
                  </a:cubicBezTo>
                  <a:cubicBezTo>
                    <a:pt x="2253464" y="394030"/>
                    <a:pt x="2156943" y="478181"/>
                    <a:pt x="2059963" y="561545"/>
                  </a:cubicBezTo>
                  <a:cubicBezTo>
                    <a:pt x="1962831" y="644811"/>
                    <a:pt x="1868297" y="731322"/>
                    <a:pt x="1780798" y="824425"/>
                  </a:cubicBezTo>
                  <a:cubicBezTo>
                    <a:pt x="1429010" y="1195013"/>
                    <a:pt x="1148011" y="1628455"/>
                    <a:pt x="954714" y="2094309"/>
                  </a:cubicBezTo>
                  <a:cubicBezTo>
                    <a:pt x="857938" y="2327186"/>
                    <a:pt x="783229" y="2568326"/>
                    <a:pt x="732676" y="2813646"/>
                  </a:cubicBezTo>
                  <a:cubicBezTo>
                    <a:pt x="707552" y="2936307"/>
                    <a:pt x="688085" y="3059952"/>
                    <a:pt x="673867" y="3183989"/>
                  </a:cubicBezTo>
                  <a:cubicBezTo>
                    <a:pt x="660056" y="3308075"/>
                    <a:pt x="651341" y="3432605"/>
                    <a:pt x="647621" y="3557281"/>
                  </a:cubicBezTo>
                  <a:cubicBezTo>
                    <a:pt x="644411" y="3681958"/>
                    <a:pt x="645329" y="3806733"/>
                    <a:pt x="653381" y="3931214"/>
                  </a:cubicBezTo>
                  <a:cubicBezTo>
                    <a:pt x="659852" y="4055792"/>
                    <a:pt x="672949" y="4179977"/>
                    <a:pt x="690428" y="4303719"/>
                  </a:cubicBezTo>
                  <a:cubicBezTo>
                    <a:pt x="726408" y="4551057"/>
                    <a:pt x="786440" y="4795835"/>
                    <a:pt x="871801" y="5033041"/>
                  </a:cubicBezTo>
                  <a:cubicBezTo>
                    <a:pt x="957007" y="5270247"/>
                    <a:pt x="1065962" y="5500322"/>
                    <a:pt x="1197749" y="5718494"/>
                  </a:cubicBezTo>
                  <a:cubicBezTo>
                    <a:pt x="1263846" y="5827433"/>
                    <a:pt x="1334937" y="5933813"/>
                    <a:pt x="1411480" y="6036703"/>
                  </a:cubicBezTo>
                  <a:cubicBezTo>
                    <a:pt x="1449548" y="6088295"/>
                    <a:pt x="1489451" y="6138609"/>
                    <a:pt x="1530170" y="6188430"/>
                  </a:cubicBezTo>
                  <a:cubicBezTo>
                    <a:pt x="1571447" y="6238055"/>
                    <a:pt x="1613644" y="6287336"/>
                    <a:pt x="1657165" y="6335385"/>
                  </a:cubicBezTo>
                  <a:cubicBezTo>
                    <a:pt x="1744079" y="6431708"/>
                    <a:pt x="1835644" y="6524282"/>
                    <a:pt x="1931343" y="6612896"/>
                  </a:cubicBezTo>
                  <a:lnTo>
                    <a:pt x="2220133" y="6858000"/>
                  </a:lnTo>
                  <a:lnTo>
                    <a:pt x="1539862" y="6858000"/>
                  </a:lnTo>
                  <a:lnTo>
                    <a:pt x="1307111" y="6648873"/>
                  </a:lnTo>
                  <a:cubicBezTo>
                    <a:pt x="1101839" y="6448063"/>
                    <a:pt x="913180" y="6225465"/>
                    <a:pt x="750258" y="5987570"/>
                  </a:cubicBezTo>
                  <a:cubicBezTo>
                    <a:pt x="587232" y="5749281"/>
                    <a:pt x="448261" y="5494813"/>
                    <a:pt x="335382" y="5229279"/>
                  </a:cubicBezTo>
                  <a:cubicBezTo>
                    <a:pt x="222298" y="4963793"/>
                    <a:pt x="137040" y="4686652"/>
                    <a:pt x="79351" y="4403854"/>
                  </a:cubicBezTo>
                  <a:cubicBezTo>
                    <a:pt x="50150" y="4262456"/>
                    <a:pt x="29767" y="4119385"/>
                    <a:pt x="16007" y="3975723"/>
                  </a:cubicBezTo>
                  <a:cubicBezTo>
                    <a:pt x="3930" y="3831964"/>
                    <a:pt x="-2441" y="3687614"/>
                    <a:pt x="871" y="3543362"/>
                  </a:cubicBezTo>
                  <a:cubicBezTo>
                    <a:pt x="3522" y="3399160"/>
                    <a:pt x="14172" y="3255105"/>
                    <a:pt x="32519" y="3112085"/>
                  </a:cubicBezTo>
                  <a:cubicBezTo>
                    <a:pt x="50508" y="2969014"/>
                    <a:pt x="76090" y="2826925"/>
                    <a:pt x="108502" y="2686511"/>
                  </a:cubicBezTo>
                  <a:cubicBezTo>
                    <a:pt x="173019" y="2405533"/>
                    <a:pt x="263474" y="2130703"/>
                    <a:pt x="378239" y="1865955"/>
                  </a:cubicBezTo>
                  <a:cubicBezTo>
                    <a:pt x="607922" y="1336607"/>
                    <a:pt x="935706" y="848228"/>
                    <a:pt x="1343701" y="431508"/>
                  </a:cubicBezTo>
                  <a:cubicBezTo>
                    <a:pt x="1446133" y="327783"/>
                    <a:pt x="1550910" y="225926"/>
                    <a:pt x="1661853" y="13026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97499201-5A2C-48B3-9B02-5519B882945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318434" y="36937"/>
              <a:ext cx="9747620" cy="6858000"/>
            </a:xfrm>
            <a:custGeom>
              <a:avLst/>
              <a:gdLst>
                <a:gd name="connsiteX0" fmla="*/ 7235453 w 9747620"/>
                <a:gd name="connsiteY0" fmla="*/ 0 h 6858000"/>
                <a:gd name="connsiteX1" fmla="*/ 7548130 w 9747620"/>
                <a:gd name="connsiteY1" fmla="*/ 0 h 6858000"/>
                <a:gd name="connsiteX2" fmla="*/ 7710334 w 9747620"/>
                <a:gd name="connsiteY2" fmla="*/ 111973 h 6858000"/>
                <a:gd name="connsiteX3" fmla="*/ 7889188 w 9747620"/>
                <a:gd name="connsiteY3" fmla="*/ 251542 h 6858000"/>
                <a:gd name="connsiteX4" fmla="*/ 8061828 w 9747620"/>
                <a:gd name="connsiteY4" fmla="*/ 398586 h 6858000"/>
                <a:gd name="connsiteX5" fmla="*/ 8145637 w 9747620"/>
                <a:gd name="connsiteY5" fmla="*/ 474218 h 6858000"/>
                <a:gd name="connsiteX6" fmla="*/ 8187242 w 9747620"/>
                <a:gd name="connsiteY6" fmla="*/ 512753 h 6858000"/>
                <a:gd name="connsiteX7" fmla="*/ 8228402 w 9747620"/>
                <a:gd name="connsiteY7" fmla="*/ 551575 h 6858000"/>
                <a:gd name="connsiteX8" fmla="*/ 8389211 w 9747620"/>
                <a:gd name="connsiteY8" fmla="*/ 710937 h 6858000"/>
                <a:gd name="connsiteX9" fmla="*/ 8467206 w 9747620"/>
                <a:gd name="connsiteY9" fmla="*/ 793088 h 6858000"/>
                <a:gd name="connsiteX10" fmla="*/ 8486791 w 9747620"/>
                <a:gd name="connsiteY10" fmla="*/ 814223 h 6858000"/>
                <a:gd name="connsiteX11" fmla="*/ 8505979 w 9747620"/>
                <a:gd name="connsiteY11" fmla="*/ 835409 h 6858000"/>
                <a:gd name="connsiteX12" fmla="*/ 8543509 w 9747620"/>
                <a:gd name="connsiteY12" fmla="*/ 877346 h 6858000"/>
                <a:gd name="connsiteX13" fmla="*/ 8690549 w 9747620"/>
                <a:gd name="connsiteY13" fmla="*/ 1048978 h 6858000"/>
                <a:gd name="connsiteX14" fmla="*/ 8761732 w 9747620"/>
                <a:gd name="connsiteY14" fmla="*/ 1137502 h 6858000"/>
                <a:gd name="connsiteX15" fmla="*/ 8796379 w 9747620"/>
                <a:gd name="connsiteY15" fmla="*/ 1182077 h 6858000"/>
                <a:gd name="connsiteX16" fmla="*/ 8830678 w 9747620"/>
                <a:gd name="connsiteY16" fmla="*/ 1226986 h 6858000"/>
                <a:gd name="connsiteX17" fmla="*/ 8963353 w 9747620"/>
                <a:gd name="connsiteY17" fmla="*/ 1410936 h 6858000"/>
                <a:gd name="connsiteX18" fmla="*/ 9026483 w 9747620"/>
                <a:gd name="connsiteY18" fmla="*/ 1505499 h 6858000"/>
                <a:gd name="connsiteX19" fmla="*/ 9057004 w 9747620"/>
                <a:gd name="connsiteY19" fmla="*/ 1552613 h 6858000"/>
                <a:gd name="connsiteX20" fmla="*/ 9087278 w 9747620"/>
                <a:gd name="connsiteY20" fmla="*/ 1600542 h 6858000"/>
                <a:gd name="connsiteX21" fmla="*/ 9202851 w 9747620"/>
                <a:gd name="connsiteY21" fmla="*/ 1795515 h 6858000"/>
                <a:gd name="connsiteX22" fmla="*/ 9257332 w 9747620"/>
                <a:gd name="connsiteY22" fmla="*/ 1894920 h 6858000"/>
                <a:gd name="connsiteX23" fmla="*/ 9283778 w 9747620"/>
                <a:gd name="connsiteY23" fmla="*/ 1945436 h 6858000"/>
                <a:gd name="connsiteX24" fmla="*/ 9309428 w 9747620"/>
                <a:gd name="connsiteY24" fmla="*/ 1996193 h 6858000"/>
                <a:gd name="connsiteX25" fmla="*/ 9405714 w 9747620"/>
                <a:gd name="connsiteY25" fmla="*/ 2202191 h 6858000"/>
                <a:gd name="connsiteX26" fmla="*/ 9566524 w 9747620"/>
                <a:gd name="connsiteY26" fmla="*/ 2627653 h 6858000"/>
                <a:gd name="connsiteX27" fmla="*/ 9583573 w 9747620"/>
                <a:gd name="connsiteY27" fmla="*/ 2682195 h 6858000"/>
                <a:gd name="connsiteX28" fmla="*/ 9591974 w 9747620"/>
                <a:gd name="connsiteY28" fmla="*/ 2709707 h 6858000"/>
                <a:gd name="connsiteX29" fmla="*/ 9600027 w 9747620"/>
                <a:gd name="connsiteY29" fmla="*/ 2737650 h 6858000"/>
                <a:gd name="connsiteX30" fmla="*/ 9629803 w 9747620"/>
                <a:gd name="connsiteY30" fmla="*/ 2847694 h 6858000"/>
                <a:gd name="connsiteX31" fmla="*/ 9679909 w 9747620"/>
                <a:gd name="connsiteY31" fmla="*/ 3070131 h 6858000"/>
                <a:gd name="connsiteX32" fmla="*/ 9690498 w 9747620"/>
                <a:gd name="connsiteY32" fmla="*/ 3126159 h 6858000"/>
                <a:gd name="connsiteX33" fmla="*/ 9700390 w 9747620"/>
                <a:gd name="connsiteY33" fmla="*/ 3181805 h 6858000"/>
                <a:gd name="connsiteX34" fmla="*/ 9709685 w 9747620"/>
                <a:gd name="connsiteY34" fmla="*/ 3243392 h 6858000"/>
                <a:gd name="connsiteX35" fmla="*/ 9713016 w 9747620"/>
                <a:gd name="connsiteY35" fmla="*/ 3267597 h 6858000"/>
                <a:gd name="connsiteX36" fmla="*/ 9716844 w 9747620"/>
                <a:gd name="connsiteY36" fmla="*/ 3294437 h 6858000"/>
                <a:gd name="connsiteX37" fmla="*/ 9720820 w 9747620"/>
                <a:gd name="connsiteY37" fmla="*/ 3324488 h 6858000"/>
                <a:gd name="connsiteX38" fmla="*/ 9722709 w 9747620"/>
                <a:gd name="connsiteY38" fmla="*/ 3340737 h 6858000"/>
                <a:gd name="connsiteX39" fmla="*/ 9724301 w 9747620"/>
                <a:gd name="connsiteY39" fmla="*/ 3356361 h 6858000"/>
                <a:gd name="connsiteX40" fmla="*/ 9730166 w 9747620"/>
                <a:gd name="connsiteY40" fmla="*/ 3412197 h 6858000"/>
                <a:gd name="connsiteX41" fmla="*/ 9735783 w 9747620"/>
                <a:gd name="connsiteY41" fmla="*/ 3468083 h 6858000"/>
                <a:gd name="connsiteX42" fmla="*/ 9739760 w 9747620"/>
                <a:gd name="connsiteY42" fmla="*/ 3524399 h 6858000"/>
                <a:gd name="connsiteX43" fmla="*/ 9741748 w 9747620"/>
                <a:gd name="connsiteY43" fmla="*/ 3552580 h 6858000"/>
                <a:gd name="connsiteX44" fmla="*/ 9742742 w 9747620"/>
                <a:gd name="connsiteY44" fmla="*/ 3566672 h 6858000"/>
                <a:gd name="connsiteX45" fmla="*/ 9743488 w 9747620"/>
                <a:gd name="connsiteY45" fmla="*/ 3581865 h 6858000"/>
                <a:gd name="connsiteX46" fmla="*/ 9744731 w 9747620"/>
                <a:gd name="connsiteY46" fmla="*/ 3611341 h 6858000"/>
                <a:gd name="connsiteX47" fmla="*/ 9745725 w 9747620"/>
                <a:gd name="connsiteY47" fmla="*/ 3639715 h 6858000"/>
                <a:gd name="connsiteX48" fmla="*/ 9747613 w 9747620"/>
                <a:gd name="connsiteY48" fmla="*/ 3753786 h 6858000"/>
                <a:gd name="connsiteX49" fmla="*/ 9740405 w 9747620"/>
                <a:gd name="connsiteY49" fmla="*/ 3984609 h 6858000"/>
                <a:gd name="connsiteX50" fmla="*/ 9736329 w 9747620"/>
                <a:gd name="connsiteY50" fmla="*/ 4038434 h 6858000"/>
                <a:gd name="connsiteX51" fmla="*/ 9731408 w 9747620"/>
                <a:gd name="connsiteY51" fmla="*/ 4099446 h 6858000"/>
                <a:gd name="connsiteX52" fmla="*/ 9717987 w 9747620"/>
                <a:gd name="connsiteY52" fmla="*/ 4213325 h 6858000"/>
                <a:gd name="connsiteX53" fmla="*/ 9716297 w 9747620"/>
                <a:gd name="connsiteY53" fmla="*/ 4227129 h 6858000"/>
                <a:gd name="connsiteX54" fmla="*/ 9714110 w 9747620"/>
                <a:gd name="connsiteY54" fmla="*/ 4240981 h 6858000"/>
                <a:gd name="connsiteX55" fmla="*/ 9709785 w 9747620"/>
                <a:gd name="connsiteY55" fmla="*/ 4268731 h 6858000"/>
                <a:gd name="connsiteX56" fmla="*/ 9701086 w 9747620"/>
                <a:gd name="connsiteY56" fmla="*/ 4324185 h 6858000"/>
                <a:gd name="connsiteX57" fmla="*/ 9698699 w 9747620"/>
                <a:gd name="connsiteY57" fmla="*/ 4338994 h 6858000"/>
                <a:gd name="connsiteX58" fmla="*/ 9695966 w 9747620"/>
                <a:gd name="connsiteY58" fmla="*/ 4355050 h 6858000"/>
                <a:gd name="connsiteX59" fmla="*/ 9690299 w 9747620"/>
                <a:gd name="connsiteY59" fmla="*/ 4385054 h 6858000"/>
                <a:gd name="connsiteX60" fmla="*/ 9679909 w 9747620"/>
                <a:gd name="connsiteY60" fmla="*/ 4437919 h 6858000"/>
                <a:gd name="connsiteX61" fmla="*/ 9673647 w 9747620"/>
                <a:gd name="connsiteY61" fmla="*/ 4468162 h 6858000"/>
                <a:gd name="connsiteX62" fmla="*/ 9667532 w 9747620"/>
                <a:gd name="connsiteY62" fmla="*/ 4496296 h 6858000"/>
                <a:gd name="connsiteX63" fmla="*/ 9654658 w 9747620"/>
                <a:gd name="connsiteY63" fmla="*/ 4552277 h 6858000"/>
                <a:gd name="connsiteX64" fmla="*/ 9625876 w 9747620"/>
                <a:gd name="connsiteY64" fmla="*/ 4664478 h 6858000"/>
                <a:gd name="connsiteX65" fmla="*/ 9552803 w 9747620"/>
                <a:gd name="connsiteY65" fmla="*/ 4888737 h 6858000"/>
                <a:gd name="connsiteX66" fmla="*/ 9452639 w 9747620"/>
                <a:gd name="connsiteY66" fmla="*/ 5110934 h 6858000"/>
                <a:gd name="connsiteX67" fmla="*/ 9388017 w 9747620"/>
                <a:gd name="connsiteY67" fmla="*/ 5220020 h 6858000"/>
                <a:gd name="connsiteX68" fmla="*/ 9370073 w 9747620"/>
                <a:gd name="connsiteY68" fmla="*/ 5246811 h 6858000"/>
                <a:gd name="connsiteX69" fmla="*/ 9360926 w 9747620"/>
                <a:gd name="connsiteY69" fmla="*/ 5260040 h 6858000"/>
                <a:gd name="connsiteX70" fmla="*/ 9351829 w 9747620"/>
                <a:gd name="connsiteY70" fmla="*/ 5272646 h 6858000"/>
                <a:gd name="connsiteX71" fmla="*/ 9313305 w 9747620"/>
                <a:gd name="connsiteY71" fmla="*/ 5323881 h 6858000"/>
                <a:gd name="connsiteX72" fmla="*/ 9130375 w 9747620"/>
                <a:gd name="connsiteY72" fmla="*/ 5510802 h 6858000"/>
                <a:gd name="connsiteX73" fmla="*/ 9028422 w 9747620"/>
                <a:gd name="connsiteY73" fmla="*/ 5588878 h 6858000"/>
                <a:gd name="connsiteX74" fmla="*/ 9002424 w 9747620"/>
                <a:gd name="connsiteY74" fmla="*/ 5606707 h 6858000"/>
                <a:gd name="connsiteX75" fmla="*/ 8976525 w 9747620"/>
                <a:gd name="connsiteY75" fmla="*/ 5623866 h 6858000"/>
                <a:gd name="connsiteX76" fmla="*/ 8924181 w 9747620"/>
                <a:gd name="connsiteY76" fmla="*/ 5656793 h 6858000"/>
                <a:gd name="connsiteX77" fmla="*/ 8717291 w 9747620"/>
                <a:gd name="connsiteY77" fmla="*/ 5771582 h 6858000"/>
                <a:gd name="connsiteX78" fmla="*/ 8617129 w 9747620"/>
                <a:gd name="connsiteY78" fmla="*/ 5823105 h 6858000"/>
                <a:gd name="connsiteX79" fmla="*/ 8518207 w 9747620"/>
                <a:gd name="connsiteY79" fmla="*/ 5873671 h 6858000"/>
                <a:gd name="connsiteX80" fmla="*/ 8150558 w 9747620"/>
                <a:gd name="connsiteY80" fmla="*/ 6086761 h 6858000"/>
                <a:gd name="connsiteX81" fmla="*/ 7979410 w 9747620"/>
                <a:gd name="connsiteY81" fmla="*/ 6207158 h 6858000"/>
                <a:gd name="connsiteX82" fmla="*/ 7938300 w 9747620"/>
                <a:gd name="connsiteY82" fmla="*/ 6238887 h 6858000"/>
                <a:gd name="connsiteX83" fmla="*/ 7897936 w 9747620"/>
                <a:gd name="connsiteY83" fmla="*/ 6271286 h 6858000"/>
                <a:gd name="connsiteX84" fmla="*/ 7858367 w 9747620"/>
                <a:gd name="connsiteY84" fmla="*/ 6304357 h 6858000"/>
                <a:gd name="connsiteX85" fmla="*/ 7819048 w 9747620"/>
                <a:gd name="connsiteY85" fmla="*/ 6338770 h 6858000"/>
                <a:gd name="connsiteX86" fmla="*/ 7778882 w 9747620"/>
                <a:gd name="connsiteY86" fmla="*/ 6374477 h 6858000"/>
                <a:gd name="connsiteX87" fmla="*/ 7739563 w 9747620"/>
                <a:gd name="connsiteY87" fmla="*/ 6410328 h 6858000"/>
                <a:gd name="connsiteX88" fmla="*/ 7660824 w 9747620"/>
                <a:gd name="connsiteY88" fmla="*/ 6484138 h 6858000"/>
                <a:gd name="connsiteX89" fmla="*/ 7502302 w 9747620"/>
                <a:gd name="connsiteY89" fmla="*/ 6636360 h 6858000"/>
                <a:gd name="connsiteX90" fmla="*/ 7273394 w 9747620"/>
                <a:gd name="connsiteY90" fmla="*/ 6858000 h 6858000"/>
                <a:gd name="connsiteX91" fmla="*/ 6780690 w 9747620"/>
                <a:gd name="connsiteY91" fmla="*/ 6858000 h 6858000"/>
                <a:gd name="connsiteX92" fmla="*/ 6854939 w 9747620"/>
                <a:gd name="connsiteY92" fmla="*/ 6783597 h 6858000"/>
                <a:gd name="connsiteX93" fmla="*/ 6932087 w 9747620"/>
                <a:gd name="connsiteY93" fmla="*/ 6705809 h 6858000"/>
                <a:gd name="connsiteX94" fmla="*/ 7241130 w 9747620"/>
                <a:gd name="connsiteY94" fmla="*/ 6390965 h 6858000"/>
                <a:gd name="connsiteX95" fmla="*/ 7397564 w 9747620"/>
                <a:gd name="connsiteY95" fmla="*/ 6233087 h 6858000"/>
                <a:gd name="connsiteX96" fmla="*/ 7478142 w 9747620"/>
                <a:gd name="connsiteY96" fmla="*/ 6153670 h 6858000"/>
                <a:gd name="connsiteX97" fmla="*/ 7519600 w 9747620"/>
                <a:gd name="connsiteY97" fmla="*/ 6113937 h 6858000"/>
                <a:gd name="connsiteX98" fmla="*/ 7561207 w 9747620"/>
                <a:gd name="connsiteY98" fmla="*/ 6075067 h 6858000"/>
                <a:gd name="connsiteX99" fmla="*/ 7604204 w 9747620"/>
                <a:gd name="connsiteY99" fmla="*/ 6035526 h 6858000"/>
                <a:gd name="connsiteX100" fmla="*/ 7648644 w 9747620"/>
                <a:gd name="connsiteY100" fmla="*/ 5996416 h 6858000"/>
                <a:gd name="connsiteX101" fmla="*/ 7693830 w 9747620"/>
                <a:gd name="connsiteY101" fmla="*/ 5958264 h 6858000"/>
                <a:gd name="connsiteX102" fmla="*/ 7739662 w 9747620"/>
                <a:gd name="connsiteY102" fmla="*/ 5921073 h 6858000"/>
                <a:gd name="connsiteX103" fmla="*/ 7928458 w 9747620"/>
                <a:gd name="connsiteY103" fmla="*/ 5781025 h 6858000"/>
                <a:gd name="connsiteX104" fmla="*/ 8325882 w 9747620"/>
                <a:gd name="connsiteY104" fmla="*/ 5537450 h 6858000"/>
                <a:gd name="connsiteX105" fmla="*/ 8424555 w 9747620"/>
                <a:gd name="connsiteY105" fmla="*/ 5484106 h 6858000"/>
                <a:gd name="connsiteX106" fmla="*/ 8521737 w 9747620"/>
                <a:gd name="connsiteY106" fmla="*/ 5431289 h 6858000"/>
                <a:gd name="connsiteX107" fmla="*/ 8702677 w 9747620"/>
                <a:gd name="connsiteY107" fmla="*/ 5325942 h 6858000"/>
                <a:gd name="connsiteX108" fmla="*/ 8743986 w 9747620"/>
                <a:gd name="connsiteY108" fmla="*/ 5298717 h 6858000"/>
                <a:gd name="connsiteX109" fmla="*/ 8764167 w 9747620"/>
                <a:gd name="connsiteY109" fmla="*/ 5284723 h 6858000"/>
                <a:gd name="connsiteX110" fmla="*/ 8783704 w 9747620"/>
                <a:gd name="connsiteY110" fmla="*/ 5270679 h 6858000"/>
                <a:gd name="connsiteX111" fmla="*/ 8856776 w 9747620"/>
                <a:gd name="connsiteY111" fmla="*/ 5212399 h 6858000"/>
                <a:gd name="connsiteX112" fmla="*/ 8979856 w 9747620"/>
                <a:gd name="connsiteY112" fmla="*/ 5082081 h 6858000"/>
                <a:gd name="connsiteX113" fmla="*/ 9006699 w 9747620"/>
                <a:gd name="connsiteY113" fmla="*/ 5044984 h 6858000"/>
                <a:gd name="connsiteX114" fmla="*/ 9013509 w 9747620"/>
                <a:gd name="connsiteY114" fmla="*/ 5035254 h 6858000"/>
                <a:gd name="connsiteX115" fmla="*/ 9019773 w 9747620"/>
                <a:gd name="connsiteY115" fmla="*/ 5025812 h 6858000"/>
                <a:gd name="connsiteX116" fmla="*/ 9032050 w 9747620"/>
                <a:gd name="connsiteY116" fmla="*/ 5006833 h 6858000"/>
                <a:gd name="connsiteX117" fmla="*/ 9077733 w 9747620"/>
                <a:gd name="connsiteY117" fmla="*/ 4926839 h 6858000"/>
                <a:gd name="connsiteX118" fmla="*/ 9154285 w 9747620"/>
                <a:gd name="connsiteY118" fmla="*/ 4750223 h 6858000"/>
                <a:gd name="connsiteX119" fmla="*/ 9213936 w 9747620"/>
                <a:gd name="connsiteY119" fmla="*/ 4559945 h 6858000"/>
                <a:gd name="connsiteX120" fmla="*/ 9238592 w 9747620"/>
                <a:gd name="connsiteY120" fmla="*/ 4461357 h 6858000"/>
                <a:gd name="connsiteX121" fmla="*/ 9249776 w 9747620"/>
                <a:gd name="connsiteY121" fmla="*/ 4411319 h 6858000"/>
                <a:gd name="connsiteX122" fmla="*/ 9255046 w 9747620"/>
                <a:gd name="connsiteY122" fmla="*/ 4386299 h 6858000"/>
                <a:gd name="connsiteX123" fmla="*/ 9259718 w 9747620"/>
                <a:gd name="connsiteY123" fmla="*/ 4363342 h 6858000"/>
                <a:gd name="connsiteX124" fmla="*/ 9269959 w 9747620"/>
                <a:gd name="connsiteY124" fmla="*/ 4309566 h 6858000"/>
                <a:gd name="connsiteX125" fmla="*/ 9274233 w 9747620"/>
                <a:gd name="connsiteY125" fmla="*/ 4286176 h 6858000"/>
                <a:gd name="connsiteX126" fmla="*/ 9276022 w 9747620"/>
                <a:gd name="connsiteY126" fmla="*/ 4275489 h 6858000"/>
                <a:gd name="connsiteX127" fmla="*/ 9277861 w 9747620"/>
                <a:gd name="connsiteY127" fmla="*/ 4263506 h 6858000"/>
                <a:gd name="connsiteX128" fmla="*/ 9286014 w 9747620"/>
                <a:gd name="connsiteY128" fmla="*/ 4211696 h 6858000"/>
                <a:gd name="connsiteX129" fmla="*/ 9290092 w 9747620"/>
                <a:gd name="connsiteY129" fmla="*/ 4185767 h 6858000"/>
                <a:gd name="connsiteX130" fmla="*/ 9292128 w 9747620"/>
                <a:gd name="connsiteY130" fmla="*/ 4172826 h 6858000"/>
                <a:gd name="connsiteX131" fmla="*/ 9293720 w 9747620"/>
                <a:gd name="connsiteY131" fmla="*/ 4159693 h 6858000"/>
                <a:gd name="connsiteX132" fmla="*/ 9305650 w 9747620"/>
                <a:gd name="connsiteY132" fmla="*/ 4057941 h 6858000"/>
                <a:gd name="connsiteX133" fmla="*/ 9309378 w 9747620"/>
                <a:gd name="connsiteY133" fmla="*/ 4010779 h 6858000"/>
                <a:gd name="connsiteX134" fmla="*/ 9313454 w 9747620"/>
                <a:gd name="connsiteY134" fmla="*/ 3956428 h 6858000"/>
                <a:gd name="connsiteX135" fmla="*/ 9320811 w 9747620"/>
                <a:gd name="connsiteY135" fmla="*/ 3753546 h 6858000"/>
                <a:gd name="connsiteX136" fmla="*/ 9319617 w 9747620"/>
                <a:gd name="connsiteY136" fmla="*/ 3650643 h 6858000"/>
                <a:gd name="connsiteX137" fmla="*/ 9318176 w 9747620"/>
                <a:gd name="connsiteY137" fmla="*/ 3600030 h 6858000"/>
                <a:gd name="connsiteX138" fmla="*/ 9317778 w 9747620"/>
                <a:gd name="connsiteY138" fmla="*/ 3588096 h 6858000"/>
                <a:gd name="connsiteX139" fmla="*/ 9316983 w 9747620"/>
                <a:gd name="connsiteY139" fmla="*/ 3575107 h 6858000"/>
                <a:gd name="connsiteX140" fmla="*/ 9315443 w 9747620"/>
                <a:gd name="connsiteY140" fmla="*/ 3549130 h 6858000"/>
                <a:gd name="connsiteX141" fmla="*/ 9312311 w 9747620"/>
                <a:gd name="connsiteY141" fmla="*/ 3497176 h 6858000"/>
                <a:gd name="connsiteX142" fmla="*/ 9307587 w 9747620"/>
                <a:gd name="connsiteY142" fmla="*/ 3445029 h 6858000"/>
                <a:gd name="connsiteX143" fmla="*/ 9302618 w 9747620"/>
                <a:gd name="connsiteY143" fmla="*/ 3392835 h 6858000"/>
                <a:gd name="connsiteX144" fmla="*/ 9301574 w 9747620"/>
                <a:gd name="connsiteY144" fmla="*/ 3381476 h 6858000"/>
                <a:gd name="connsiteX145" fmla="*/ 9300430 w 9747620"/>
                <a:gd name="connsiteY145" fmla="*/ 3370740 h 6858000"/>
                <a:gd name="connsiteX146" fmla="*/ 9297547 w 9747620"/>
                <a:gd name="connsiteY146" fmla="*/ 3346966 h 6858000"/>
                <a:gd name="connsiteX147" fmla="*/ 9294017 w 9747620"/>
                <a:gd name="connsiteY147" fmla="*/ 3320030 h 6858000"/>
                <a:gd name="connsiteX148" fmla="*/ 9290439 w 9747620"/>
                <a:gd name="connsiteY148" fmla="*/ 3290410 h 6858000"/>
                <a:gd name="connsiteX149" fmla="*/ 9284275 w 9747620"/>
                <a:gd name="connsiteY149" fmla="*/ 3244544 h 6858000"/>
                <a:gd name="connsiteX150" fmla="*/ 9275974 w 9747620"/>
                <a:gd name="connsiteY150" fmla="*/ 3193116 h 6858000"/>
                <a:gd name="connsiteX151" fmla="*/ 9267224 w 9747620"/>
                <a:gd name="connsiteY151" fmla="*/ 3142264 h 6858000"/>
                <a:gd name="connsiteX152" fmla="*/ 9225320 w 9747620"/>
                <a:gd name="connsiteY152" fmla="*/ 2939909 h 6858000"/>
                <a:gd name="connsiteX153" fmla="*/ 9200466 w 9747620"/>
                <a:gd name="connsiteY153" fmla="*/ 2839449 h 6858000"/>
                <a:gd name="connsiteX154" fmla="*/ 9193953 w 9747620"/>
                <a:gd name="connsiteY154" fmla="*/ 2814958 h 6858000"/>
                <a:gd name="connsiteX155" fmla="*/ 9186993 w 9747620"/>
                <a:gd name="connsiteY155" fmla="*/ 2790276 h 6858000"/>
                <a:gd name="connsiteX156" fmla="*/ 9172628 w 9747620"/>
                <a:gd name="connsiteY156" fmla="*/ 2740621 h 6858000"/>
                <a:gd name="connsiteX157" fmla="*/ 9035082 w 9747620"/>
                <a:gd name="connsiteY157" fmla="*/ 2347463 h 6858000"/>
                <a:gd name="connsiteX158" fmla="*/ 8952118 w 9747620"/>
                <a:gd name="connsiteY158" fmla="*/ 2155413 h 6858000"/>
                <a:gd name="connsiteX159" fmla="*/ 8929948 w 9747620"/>
                <a:gd name="connsiteY159" fmla="*/ 2107915 h 6858000"/>
                <a:gd name="connsiteX160" fmla="*/ 8907429 w 9747620"/>
                <a:gd name="connsiteY160" fmla="*/ 2060753 h 6858000"/>
                <a:gd name="connsiteX161" fmla="*/ 8860404 w 9747620"/>
                <a:gd name="connsiteY161" fmla="*/ 1966478 h 6858000"/>
                <a:gd name="connsiteX162" fmla="*/ 8760788 w 9747620"/>
                <a:gd name="connsiteY162" fmla="*/ 1780274 h 6858000"/>
                <a:gd name="connsiteX163" fmla="*/ 8734740 w 9747620"/>
                <a:gd name="connsiteY163" fmla="*/ 1734311 h 6858000"/>
                <a:gd name="connsiteX164" fmla="*/ 8708046 w 9747620"/>
                <a:gd name="connsiteY164" fmla="*/ 1687963 h 6858000"/>
                <a:gd name="connsiteX165" fmla="*/ 8654062 w 9747620"/>
                <a:gd name="connsiteY165" fmla="*/ 1597234 h 6858000"/>
                <a:gd name="connsiteX166" fmla="*/ 8540278 w 9747620"/>
                <a:gd name="connsiteY166" fmla="*/ 1418077 h 6858000"/>
                <a:gd name="connsiteX167" fmla="*/ 8510701 w 9747620"/>
                <a:gd name="connsiteY167" fmla="*/ 1373695 h 6858000"/>
                <a:gd name="connsiteX168" fmla="*/ 8480676 w 9747620"/>
                <a:gd name="connsiteY168" fmla="*/ 1329457 h 6858000"/>
                <a:gd name="connsiteX169" fmla="*/ 8419782 w 9747620"/>
                <a:gd name="connsiteY169" fmla="*/ 1242275 h 6858000"/>
                <a:gd name="connsiteX170" fmla="*/ 8292478 w 9747620"/>
                <a:gd name="connsiteY170" fmla="*/ 1069875 h 6858000"/>
                <a:gd name="connsiteX171" fmla="*/ 8259620 w 9747620"/>
                <a:gd name="connsiteY171" fmla="*/ 1027123 h 6858000"/>
                <a:gd name="connsiteX172" fmla="*/ 8243416 w 9747620"/>
                <a:gd name="connsiteY172" fmla="*/ 1006130 h 6858000"/>
                <a:gd name="connsiteX173" fmla="*/ 8227110 w 9747620"/>
                <a:gd name="connsiteY173" fmla="*/ 985473 h 6858000"/>
                <a:gd name="connsiteX174" fmla="*/ 8159604 w 9747620"/>
                <a:gd name="connsiteY174" fmla="*/ 902029 h 6858000"/>
                <a:gd name="connsiteX175" fmla="*/ 8020022 w 9747620"/>
                <a:gd name="connsiteY175" fmla="*/ 738209 h 6858000"/>
                <a:gd name="connsiteX176" fmla="*/ 7984182 w 9747620"/>
                <a:gd name="connsiteY176" fmla="*/ 697901 h 6858000"/>
                <a:gd name="connsiteX177" fmla="*/ 7948043 w 9747620"/>
                <a:gd name="connsiteY177" fmla="*/ 657976 h 6858000"/>
                <a:gd name="connsiteX178" fmla="*/ 7874324 w 9747620"/>
                <a:gd name="connsiteY178" fmla="*/ 578607 h 6858000"/>
                <a:gd name="connsiteX179" fmla="*/ 7723308 w 9747620"/>
                <a:gd name="connsiteY179" fmla="*/ 424085 h 6858000"/>
                <a:gd name="connsiteX180" fmla="*/ 7565532 w 9747620"/>
                <a:gd name="connsiteY180" fmla="*/ 275602 h 6858000"/>
                <a:gd name="connsiteX181" fmla="*/ 1832515 w 9747620"/>
                <a:gd name="connsiteY181" fmla="*/ 0 h 6858000"/>
                <a:gd name="connsiteX182" fmla="*/ 2158449 w 9747620"/>
                <a:gd name="connsiteY182" fmla="*/ 0 h 6858000"/>
                <a:gd name="connsiteX183" fmla="*/ 2108797 w 9747620"/>
                <a:gd name="connsiteY183" fmla="*/ 37845 h 6858000"/>
                <a:gd name="connsiteX184" fmla="*/ 1942830 w 9747620"/>
                <a:gd name="connsiteY184" fmla="*/ 177587 h 6858000"/>
                <a:gd name="connsiteX185" fmla="*/ 1633191 w 9747620"/>
                <a:gd name="connsiteY185" fmla="*/ 477909 h 6858000"/>
                <a:gd name="connsiteX186" fmla="*/ 702686 w 9747620"/>
                <a:gd name="connsiteY186" fmla="*/ 1889935 h 6858000"/>
                <a:gd name="connsiteX187" fmla="*/ 551769 w 9747620"/>
                <a:gd name="connsiteY187" fmla="*/ 2281416 h 6858000"/>
                <a:gd name="connsiteX188" fmla="*/ 438383 w 9747620"/>
                <a:gd name="connsiteY188" fmla="*/ 2682772 h 6858000"/>
                <a:gd name="connsiteX189" fmla="*/ 397124 w 9747620"/>
                <a:gd name="connsiteY189" fmla="*/ 2887044 h 6858000"/>
                <a:gd name="connsiteX190" fmla="*/ 365658 w 9747620"/>
                <a:gd name="connsiteY190" fmla="*/ 3093424 h 6858000"/>
                <a:gd name="connsiteX191" fmla="*/ 332105 w 9747620"/>
                <a:gd name="connsiteY191" fmla="*/ 3509828 h 6858000"/>
                <a:gd name="connsiteX192" fmla="*/ 383653 w 9747620"/>
                <a:gd name="connsiteY192" fmla="*/ 4346327 h 6858000"/>
                <a:gd name="connsiteX193" fmla="*/ 422327 w 9747620"/>
                <a:gd name="connsiteY193" fmla="*/ 4552900 h 6858000"/>
                <a:gd name="connsiteX194" fmla="*/ 472184 w 9747620"/>
                <a:gd name="connsiteY194" fmla="*/ 4757939 h 6858000"/>
                <a:gd name="connsiteX195" fmla="*/ 533078 w 9747620"/>
                <a:gd name="connsiteY195" fmla="*/ 4960916 h 6858000"/>
                <a:gd name="connsiteX196" fmla="*/ 604710 w 9747620"/>
                <a:gd name="connsiteY196" fmla="*/ 5160875 h 6858000"/>
                <a:gd name="connsiteX197" fmla="*/ 996766 w 9747620"/>
                <a:gd name="connsiteY197" fmla="*/ 5920640 h 6858000"/>
                <a:gd name="connsiteX198" fmla="*/ 1549183 w 9747620"/>
                <a:gd name="connsiteY198" fmla="*/ 6586417 h 6858000"/>
                <a:gd name="connsiteX199" fmla="*/ 1709890 w 9747620"/>
                <a:gd name="connsiteY199" fmla="*/ 6734063 h 6858000"/>
                <a:gd name="connsiteX200" fmla="*/ 1859761 w 9747620"/>
                <a:gd name="connsiteY200" fmla="*/ 6858000 h 6858000"/>
                <a:gd name="connsiteX201" fmla="*/ 1671798 w 9747620"/>
                <a:gd name="connsiteY201" fmla="*/ 6858000 h 6858000"/>
                <a:gd name="connsiteX202" fmla="*/ 1628044 w 9747620"/>
                <a:gd name="connsiteY202" fmla="*/ 6822717 h 6858000"/>
                <a:gd name="connsiteX203" fmla="*/ 1459756 w 9747620"/>
                <a:gd name="connsiteY203" fmla="*/ 6674223 h 6858000"/>
                <a:gd name="connsiteX204" fmla="*/ 402543 w 9747620"/>
                <a:gd name="connsiteY204" fmla="*/ 5241588 h 6858000"/>
                <a:gd name="connsiteX205" fmla="*/ 311923 w 9747620"/>
                <a:gd name="connsiteY205" fmla="*/ 5036741 h 6858000"/>
                <a:gd name="connsiteX206" fmla="*/ 232140 w 9747620"/>
                <a:gd name="connsiteY206" fmla="*/ 4827483 h 6858000"/>
                <a:gd name="connsiteX207" fmla="*/ 163392 w 9747620"/>
                <a:gd name="connsiteY207" fmla="*/ 4613913 h 6858000"/>
                <a:gd name="connsiteX208" fmla="*/ 106823 w 9747620"/>
                <a:gd name="connsiteY208" fmla="*/ 4396365 h 6858000"/>
                <a:gd name="connsiteX209" fmla="*/ 29326 w 9747620"/>
                <a:gd name="connsiteY209" fmla="*/ 3954702 h 6858000"/>
                <a:gd name="connsiteX210" fmla="*/ 8647 w 9747620"/>
                <a:gd name="connsiteY210" fmla="*/ 3730971 h 6858000"/>
                <a:gd name="connsiteX211" fmla="*/ 2880 w 9747620"/>
                <a:gd name="connsiteY211" fmla="*/ 3618674 h 6858000"/>
                <a:gd name="connsiteX212" fmla="*/ 296 w 9747620"/>
                <a:gd name="connsiteY212" fmla="*/ 3506425 h 6858000"/>
                <a:gd name="connsiteX213" fmla="*/ 20030 w 9747620"/>
                <a:gd name="connsiteY213" fmla="*/ 3056711 h 6858000"/>
                <a:gd name="connsiteX214" fmla="*/ 48664 w 9747620"/>
                <a:gd name="connsiteY214" fmla="*/ 2832980 h 6858000"/>
                <a:gd name="connsiteX215" fmla="*/ 89922 w 9747620"/>
                <a:gd name="connsiteY215" fmla="*/ 2610639 h 6858000"/>
                <a:gd name="connsiteX216" fmla="*/ 211163 w 9747620"/>
                <a:gd name="connsiteY216" fmla="*/ 2174343 h 6858000"/>
                <a:gd name="connsiteX217" fmla="*/ 379129 w 9747620"/>
                <a:gd name="connsiteY217" fmla="*/ 1754393 h 6858000"/>
                <a:gd name="connsiteX218" fmla="*/ 841424 w 9747620"/>
                <a:gd name="connsiteY218" fmla="*/ 976270 h 6858000"/>
                <a:gd name="connsiteX219" fmla="*/ 1130234 w 9747620"/>
                <a:gd name="connsiteY219" fmla="*/ 625768 h 6858000"/>
                <a:gd name="connsiteX220" fmla="*/ 1452897 w 9747620"/>
                <a:gd name="connsiteY220" fmla="*/ 305748 h 6858000"/>
                <a:gd name="connsiteX221" fmla="*/ 1805682 w 9747620"/>
                <a:gd name="connsiteY221" fmla="*/ 18752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</a:cxnLst>
              <a:rect l="l" t="t" r="r" b="b"/>
              <a:pathLst>
                <a:path w="9747620" h="6858000">
                  <a:moveTo>
                    <a:pt x="7235453" y="0"/>
                  </a:moveTo>
                  <a:lnTo>
                    <a:pt x="7548130" y="0"/>
                  </a:lnTo>
                  <a:lnTo>
                    <a:pt x="7710334" y="111973"/>
                  </a:lnTo>
                  <a:cubicBezTo>
                    <a:pt x="7770781" y="157314"/>
                    <a:pt x="7830282" y="203517"/>
                    <a:pt x="7889188" y="251542"/>
                  </a:cubicBezTo>
                  <a:cubicBezTo>
                    <a:pt x="7947894" y="299470"/>
                    <a:pt x="8005557" y="348453"/>
                    <a:pt x="8061828" y="398586"/>
                  </a:cubicBezTo>
                  <a:cubicBezTo>
                    <a:pt x="8090013" y="423605"/>
                    <a:pt x="8117948" y="448816"/>
                    <a:pt x="8145637" y="474218"/>
                  </a:cubicBezTo>
                  <a:cubicBezTo>
                    <a:pt x="8159506" y="486918"/>
                    <a:pt x="8173375" y="499764"/>
                    <a:pt x="8187242" y="512753"/>
                  </a:cubicBezTo>
                  <a:lnTo>
                    <a:pt x="8228402" y="551575"/>
                  </a:lnTo>
                  <a:cubicBezTo>
                    <a:pt x="8283082" y="603577"/>
                    <a:pt x="8336569" y="656778"/>
                    <a:pt x="8389211" y="710937"/>
                  </a:cubicBezTo>
                  <a:cubicBezTo>
                    <a:pt x="8415458" y="738065"/>
                    <a:pt x="8441455" y="765432"/>
                    <a:pt x="8467206" y="793088"/>
                  </a:cubicBezTo>
                  <a:lnTo>
                    <a:pt x="8486791" y="814223"/>
                  </a:lnTo>
                  <a:lnTo>
                    <a:pt x="8505979" y="835409"/>
                  </a:lnTo>
                  <a:lnTo>
                    <a:pt x="8543509" y="877346"/>
                  </a:lnTo>
                  <a:cubicBezTo>
                    <a:pt x="8593418" y="933423"/>
                    <a:pt x="8642579" y="990601"/>
                    <a:pt x="8690549" y="1048978"/>
                  </a:cubicBezTo>
                  <a:cubicBezTo>
                    <a:pt x="8714558" y="1078168"/>
                    <a:pt x="8738368" y="1107644"/>
                    <a:pt x="8761732" y="1137502"/>
                  </a:cubicBezTo>
                  <a:lnTo>
                    <a:pt x="8796379" y="1182077"/>
                  </a:lnTo>
                  <a:lnTo>
                    <a:pt x="8830678" y="1226986"/>
                  </a:lnTo>
                  <a:cubicBezTo>
                    <a:pt x="8876112" y="1287185"/>
                    <a:pt x="8920304" y="1348532"/>
                    <a:pt x="8963353" y="1410936"/>
                  </a:cubicBezTo>
                  <a:cubicBezTo>
                    <a:pt x="8984727" y="1442137"/>
                    <a:pt x="9005954" y="1473915"/>
                    <a:pt x="9026483" y="1505499"/>
                  </a:cubicBezTo>
                  <a:lnTo>
                    <a:pt x="9057004" y="1552613"/>
                  </a:lnTo>
                  <a:cubicBezTo>
                    <a:pt x="9067245" y="1568525"/>
                    <a:pt x="9077336" y="1584534"/>
                    <a:pt x="9087278" y="1600542"/>
                  </a:cubicBezTo>
                  <a:cubicBezTo>
                    <a:pt x="9127145" y="1664766"/>
                    <a:pt x="9165966" y="1729613"/>
                    <a:pt x="9202851" y="1795515"/>
                  </a:cubicBezTo>
                  <a:cubicBezTo>
                    <a:pt x="9221342" y="1828491"/>
                    <a:pt x="9239437" y="1861417"/>
                    <a:pt x="9257332" y="1894920"/>
                  </a:cubicBezTo>
                  <a:lnTo>
                    <a:pt x="9283778" y="1945436"/>
                  </a:lnTo>
                  <a:lnTo>
                    <a:pt x="9309428" y="1996193"/>
                  </a:lnTo>
                  <a:cubicBezTo>
                    <a:pt x="9343280" y="2064013"/>
                    <a:pt x="9375491" y="2132695"/>
                    <a:pt x="9405714" y="2202191"/>
                  </a:cubicBezTo>
                  <a:cubicBezTo>
                    <a:pt x="9466260" y="2341183"/>
                    <a:pt x="9520493" y="2483053"/>
                    <a:pt x="9566524" y="2627653"/>
                  </a:cubicBezTo>
                  <a:cubicBezTo>
                    <a:pt x="9572289" y="2645675"/>
                    <a:pt x="9578056" y="2663792"/>
                    <a:pt x="9583573" y="2682195"/>
                  </a:cubicBezTo>
                  <a:lnTo>
                    <a:pt x="9591974" y="2709707"/>
                  </a:lnTo>
                  <a:lnTo>
                    <a:pt x="9600027" y="2737650"/>
                  </a:lnTo>
                  <a:cubicBezTo>
                    <a:pt x="9610416" y="2774171"/>
                    <a:pt x="9620358" y="2810884"/>
                    <a:pt x="9629803" y="2847694"/>
                  </a:cubicBezTo>
                  <a:cubicBezTo>
                    <a:pt x="9648692" y="2921312"/>
                    <a:pt x="9665196" y="2995506"/>
                    <a:pt x="9679909" y="3070131"/>
                  </a:cubicBezTo>
                  <a:cubicBezTo>
                    <a:pt x="9683587" y="3088775"/>
                    <a:pt x="9687118" y="3107418"/>
                    <a:pt x="9690498" y="3126159"/>
                  </a:cubicBezTo>
                  <a:lnTo>
                    <a:pt x="9700390" y="3181805"/>
                  </a:lnTo>
                  <a:cubicBezTo>
                    <a:pt x="9703670" y="3201120"/>
                    <a:pt x="9706952" y="3222112"/>
                    <a:pt x="9709685" y="3243392"/>
                  </a:cubicBezTo>
                  <a:lnTo>
                    <a:pt x="9713016" y="3267597"/>
                  </a:lnTo>
                  <a:lnTo>
                    <a:pt x="9716844" y="3294437"/>
                  </a:lnTo>
                  <a:cubicBezTo>
                    <a:pt x="9718186" y="3303926"/>
                    <a:pt x="9719527" y="3313895"/>
                    <a:pt x="9720820" y="3324488"/>
                  </a:cubicBezTo>
                  <a:lnTo>
                    <a:pt x="9722709" y="3340737"/>
                  </a:lnTo>
                  <a:lnTo>
                    <a:pt x="9724301" y="3356361"/>
                  </a:lnTo>
                  <a:lnTo>
                    <a:pt x="9730166" y="3412197"/>
                  </a:lnTo>
                  <a:cubicBezTo>
                    <a:pt x="9732005" y="3430842"/>
                    <a:pt x="9734291" y="3449342"/>
                    <a:pt x="9735783" y="3468083"/>
                  </a:cubicBezTo>
                  <a:lnTo>
                    <a:pt x="9739760" y="3524399"/>
                  </a:lnTo>
                  <a:lnTo>
                    <a:pt x="9741748" y="3552580"/>
                  </a:lnTo>
                  <a:lnTo>
                    <a:pt x="9742742" y="3566672"/>
                  </a:lnTo>
                  <a:lnTo>
                    <a:pt x="9743488" y="3581865"/>
                  </a:lnTo>
                  <a:lnTo>
                    <a:pt x="9744731" y="3611341"/>
                  </a:lnTo>
                  <a:lnTo>
                    <a:pt x="9745725" y="3639715"/>
                  </a:lnTo>
                  <a:cubicBezTo>
                    <a:pt x="9746868" y="3677579"/>
                    <a:pt x="9747514" y="3715587"/>
                    <a:pt x="9747613" y="3753786"/>
                  </a:cubicBezTo>
                  <a:cubicBezTo>
                    <a:pt x="9747763" y="3830232"/>
                    <a:pt x="9745675" y="3906870"/>
                    <a:pt x="9740405" y="3984609"/>
                  </a:cubicBezTo>
                  <a:lnTo>
                    <a:pt x="9736329" y="4038434"/>
                  </a:lnTo>
                  <a:cubicBezTo>
                    <a:pt x="9735087" y="4055976"/>
                    <a:pt x="9733794" y="4076346"/>
                    <a:pt x="9731408" y="4099446"/>
                  </a:cubicBezTo>
                  <a:lnTo>
                    <a:pt x="9717987" y="4213325"/>
                  </a:lnTo>
                  <a:cubicBezTo>
                    <a:pt x="9717441" y="4217926"/>
                    <a:pt x="9716943" y="4222527"/>
                    <a:pt x="9716297" y="4227129"/>
                  </a:cubicBezTo>
                  <a:lnTo>
                    <a:pt x="9714110" y="4240981"/>
                  </a:lnTo>
                  <a:lnTo>
                    <a:pt x="9709785" y="4268731"/>
                  </a:lnTo>
                  <a:lnTo>
                    <a:pt x="9701086" y="4324185"/>
                  </a:lnTo>
                  <a:lnTo>
                    <a:pt x="9698699" y="4338994"/>
                  </a:lnTo>
                  <a:lnTo>
                    <a:pt x="9695966" y="4355050"/>
                  </a:lnTo>
                  <a:cubicBezTo>
                    <a:pt x="9694077" y="4365547"/>
                    <a:pt x="9692188" y="4375516"/>
                    <a:pt x="9690299" y="4385054"/>
                  </a:cubicBezTo>
                  <a:lnTo>
                    <a:pt x="9679909" y="4437919"/>
                  </a:lnTo>
                  <a:cubicBezTo>
                    <a:pt x="9677871" y="4448320"/>
                    <a:pt x="9675735" y="4458097"/>
                    <a:pt x="9673647" y="4468162"/>
                  </a:cubicBezTo>
                  <a:lnTo>
                    <a:pt x="9667532" y="4496296"/>
                  </a:lnTo>
                  <a:cubicBezTo>
                    <a:pt x="9663406" y="4514941"/>
                    <a:pt x="9659081" y="4533585"/>
                    <a:pt x="9654658" y="4552277"/>
                  </a:cubicBezTo>
                  <a:cubicBezTo>
                    <a:pt x="9645760" y="4589613"/>
                    <a:pt x="9636265" y="4627045"/>
                    <a:pt x="9625876" y="4664478"/>
                  </a:cubicBezTo>
                  <a:cubicBezTo>
                    <a:pt x="9605048" y="4739247"/>
                    <a:pt x="9581088" y="4814303"/>
                    <a:pt x="9552803" y="4888737"/>
                  </a:cubicBezTo>
                  <a:cubicBezTo>
                    <a:pt x="9524668" y="4962930"/>
                    <a:pt x="9492109" y="5037459"/>
                    <a:pt x="9452639" y="5110934"/>
                  </a:cubicBezTo>
                  <a:cubicBezTo>
                    <a:pt x="9432905" y="5147695"/>
                    <a:pt x="9411431" y="5184169"/>
                    <a:pt x="9388017" y="5220020"/>
                  </a:cubicBezTo>
                  <a:cubicBezTo>
                    <a:pt x="9382201" y="5228982"/>
                    <a:pt x="9376236" y="5237945"/>
                    <a:pt x="9370073" y="5246811"/>
                  </a:cubicBezTo>
                  <a:lnTo>
                    <a:pt x="9360926" y="5260040"/>
                  </a:lnTo>
                  <a:lnTo>
                    <a:pt x="9351829" y="5272646"/>
                  </a:lnTo>
                  <a:cubicBezTo>
                    <a:pt x="9339700" y="5289468"/>
                    <a:pt x="9327174" y="5306387"/>
                    <a:pt x="9313305" y="5323881"/>
                  </a:cubicBezTo>
                  <a:cubicBezTo>
                    <a:pt x="9258625" y="5393042"/>
                    <a:pt x="9196489" y="5455445"/>
                    <a:pt x="9130375" y="5510802"/>
                  </a:cubicBezTo>
                  <a:cubicBezTo>
                    <a:pt x="9097319" y="5538505"/>
                    <a:pt x="9063268" y="5564530"/>
                    <a:pt x="9028422" y="5588878"/>
                  </a:cubicBezTo>
                  <a:cubicBezTo>
                    <a:pt x="9019723" y="5595109"/>
                    <a:pt x="9011074" y="5600909"/>
                    <a:pt x="9002424" y="5606707"/>
                  </a:cubicBezTo>
                  <a:cubicBezTo>
                    <a:pt x="8993774" y="5612603"/>
                    <a:pt x="8985124" y="5618211"/>
                    <a:pt x="8976525" y="5623866"/>
                  </a:cubicBezTo>
                  <a:cubicBezTo>
                    <a:pt x="8959277" y="5635130"/>
                    <a:pt x="8941629" y="5646201"/>
                    <a:pt x="8924181" y="5656793"/>
                  </a:cubicBezTo>
                  <a:cubicBezTo>
                    <a:pt x="8854291" y="5699259"/>
                    <a:pt x="8784946" y="5736451"/>
                    <a:pt x="8717291" y="5771582"/>
                  </a:cubicBezTo>
                  <a:lnTo>
                    <a:pt x="8617129" y="5823105"/>
                  </a:lnTo>
                  <a:lnTo>
                    <a:pt x="8518207" y="5873671"/>
                  </a:lnTo>
                  <a:cubicBezTo>
                    <a:pt x="8391200" y="5939188"/>
                    <a:pt x="8267922" y="6009788"/>
                    <a:pt x="8150558" y="6086761"/>
                  </a:cubicBezTo>
                  <a:cubicBezTo>
                    <a:pt x="8091901" y="6125248"/>
                    <a:pt x="8034736" y="6165317"/>
                    <a:pt x="7979410" y="6207158"/>
                  </a:cubicBezTo>
                  <a:cubicBezTo>
                    <a:pt x="7965739" y="6217750"/>
                    <a:pt x="7951771" y="6228103"/>
                    <a:pt x="7938300" y="6238887"/>
                  </a:cubicBezTo>
                  <a:lnTo>
                    <a:pt x="7897936" y="6271286"/>
                  </a:lnTo>
                  <a:lnTo>
                    <a:pt x="7858367" y="6304357"/>
                  </a:lnTo>
                  <a:lnTo>
                    <a:pt x="7819048" y="6338770"/>
                  </a:lnTo>
                  <a:cubicBezTo>
                    <a:pt x="7804882" y="6351232"/>
                    <a:pt x="7792105" y="6362591"/>
                    <a:pt x="7778882" y="6374477"/>
                  </a:cubicBezTo>
                  <a:lnTo>
                    <a:pt x="7739563" y="6410328"/>
                  </a:lnTo>
                  <a:cubicBezTo>
                    <a:pt x="7713366" y="6434485"/>
                    <a:pt x="7687168" y="6459120"/>
                    <a:pt x="7660824" y="6484138"/>
                  </a:cubicBezTo>
                  <a:lnTo>
                    <a:pt x="7502302" y="6636360"/>
                  </a:lnTo>
                  <a:lnTo>
                    <a:pt x="7273394" y="6858000"/>
                  </a:lnTo>
                  <a:lnTo>
                    <a:pt x="6780690" y="6858000"/>
                  </a:lnTo>
                  <a:lnTo>
                    <a:pt x="6854939" y="6783597"/>
                  </a:lnTo>
                  <a:cubicBezTo>
                    <a:pt x="6880688" y="6757810"/>
                    <a:pt x="6906338" y="6732265"/>
                    <a:pt x="6932087" y="6705809"/>
                  </a:cubicBezTo>
                  <a:lnTo>
                    <a:pt x="7241130" y="6390965"/>
                  </a:lnTo>
                  <a:lnTo>
                    <a:pt x="7397564" y="6233087"/>
                  </a:lnTo>
                  <a:cubicBezTo>
                    <a:pt x="7424009" y="6206679"/>
                    <a:pt x="7450802" y="6180175"/>
                    <a:pt x="7478142" y="6153670"/>
                  </a:cubicBezTo>
                  <a:lnTo>
                    <a:pt x="7519600" y="6113937"/>
                  </a:lnTo>
                  <a:cubicBezTo>
                    <a:pt x="7533469" y="6100805"/>
                    <a:pt x="7547934" y="6087288"/>
                    <a:pt x="7561207" y="6075067"/>
                  </a:cubicBezTo>
                  <a:lnTo>
                    <a:pt x="7604204" y="6035526"/>
                  </a:lnTo>
                  <a:lnTo>
                    <a:pt x="7648644" y="5996416"/>
                  </a:lnTo>
                  <a:cubicBezTo>
                    <a:pt x="7663608" y="5983570"/>
                    <a:pt x="7678768" y="5971013"/>
                    <a:pt x="7693830" y="5958264"/>
                  </a:cubicBezTo>
                  <a:cubicBezTo>
                    <a:pt x="7708942" y="5945611"/>
                    <a:pt x="7724352" y="5933485"/>
                    <a:pt x="7739662" y="5921073"/>
                  </a:cubicBezTo>
                  <a:cubicBezTo>
                    <a:pt x="7801154" y="5872088"/>
                    <a:pt x="7864234" y="5825502"/>
                    <a:pt x="7928458" y="5781025"/>
                  </a:cubicBezTo>
                  <a:cubicBezTo>
                    <a:pt x="8057005" y="5692164"/>
                    <a:pt x="8190077" y="5611500"/>
                    <a:pt x="8325882" y="5537450"/>
                  </a:cubicBezTo>
                  <a:lnTo>
                    <a:pt x="8424555" y="5484106"/>
                  </a:lnTo>
                  <a:lnTo>
                    <a:pt x="8521737" y="5431289"/>
                  </a:lnTo>
                  <a:cubicBezTo>
                    <a:pt x="8585315" y="5396349"/>
                    <a:pt x="8646456" y="5361840"/>
                    <a:pt x="8702677" y="5325942"/>
                  </a:cubicBezTo>
                  <a:cubicBezTo>
                    <a:pt x="8716795" y="5316931"/>
                    <a:pt x="8730365" y="5308017"/>
                    <a:pt x="8743986" y="5298717"/>
                  </a:cubicBezTo>
                  <a:cubicBezTo>
                    <a:pt x="8750747" y="5294069"/>
                    <a:pt x="8757606" y="5289420"/>
                    <a:pt x="8764167" y="5284723"/>
                  </a:cubicBezTo>
                  <a:cubicBezTo>
                    <a:pt x="8770778" y="5280074"/>
                    <a:pt x="8777440" y="5275377"/>
                    <a:pt x="8783704" y="5270679"/>
                  </a:cubicBezTo>
                  <a:cubicBezTo>
                    <a:pt x="8809155" y="5251987"/>
                    <a:pt x="8833611" y="5232577"/>
                    <a:pt x="8856776" y="5212399"/>
                  </a:cubicBezTo>
                  <a:cubicBezTo>
                    <a:pt x="8903104" y="5172043"/>
                    <a:pt x="8944463" y="5128668"/>
                    <a:pt x="8979856" y="5082081"/>
                  </a:cubicBezTo>
                  <a:cubicBezTo>
                    <a:pt x="8988555" y="5070722"/>
                    <a:pt x="8997602" y="5057973"/>
                    <a:pt x="9006699" y="5044984"/>
                  </a:cubicBezTo>
                  <a:lnTo>
                    <a:pt x="9013509" y="5035254"/>
                  </a:lnTo>
                  <a:lnTo>
                    <a:pt x="9019773" y="5025812"/>
                  </a:lnTo>
                  <a:cubicBezTo>
                    <a:pt x="9023997" y="5019629"/>
                    <a:pt x="9028073" y="5013254"/>
                    <a:pt x="9032050" y="5006833"/>
                  </a:cubicBezTo>
                  <a:cubicBezTo>
                    <a:pt x="9048206" y="4981238"/>
                    <a:pt x="9063417" y="4954542"/>
                    <a:pt x="9077733" y="4926839"/>
                  </a:cubicBezTo>
                  <a:cubicBezTo>
                    <a:pt x="9106415" y="4871434"/>
                    <a:pt x="9131469" y="4812050"/>
                    <a:pt x="9154285" y="4750223"/>
                  </a:cubicBezTo>
                  <a:cubicBezTo>
                    <a:pt x="9176904" y="4688586"/>
                    <a:pt x="9196537" y="4625032"/>
                    <a:pt x="9213936" y="4559945"/>
                  </a:cubicBezTo>
                  <a:cubicBezTo>
                    <a:pt x="9222635" y="4527402"/>
                    <a:pt x="9230887" y="4494523"/>
                    <a:pt x="9238592" y="4461357"/>
                  </a:cubicBezTo>
                  <a:cubicBezTo>
                    <a:pt x="9242419" y="4444773"/>
                    <a:pt x="9246147" y="4428094"/>
                    <a:pt x="9249776" y="4411319"/>
                  </a:cubicBezTo>
                  <a:lnTo>
                    <a:pt x="9255046" y="4386299"/>
                  </a:lnTo>
                  <a:lnTo>
                    <a:pt x="9259718" y="4363342"/>
                  </a:lnTo>
                  <a:lnTo>
                    <a:pt x="9269959" y="4309566"/>
                  </a:lnTo>
                  <a:lnTo>
                    <a:pt x="9274233" y="4286176"/>
                  </a:lnTo>
                  <a:lnTo>
                    <a:pt x="9276022" y="4275489"/>
                  </a:lnTo>
                  <a:lnTo>
                    <a:pt x="9277861" y="4263506"/>
                  </a:lnTo>
                  <a:lnTo>
                    <a:pt x="9286014" y="4211696"/>
                  </a:lnTo>
                  <a:lnTo>
                    <a:pt x="9290092" y="4185767"/>
                  </a:lnTo>
                  <a:lnTo>
                    <a:pt x="9292128" y="4172826"/>
                  </a:lnTo>
                  <a:cubicBezTo>
                    <a:pt x="9292774" y="4168464"/>
                    <a:pt x="9293173" y="4164055"/>
                    <a:pt x="9293720" y="4159693"/>
                  </a:cubicBezTo>
                  <a:lnTo>
                    <a:pt x="9305650" y="4057941"/>
                  </a:lnTo>
                  <a:cubicBezTo>
                    <a:pt x="9306991" y="4045048"/>
                    <a:pt x="9308085" y="4029328"/>
                    <a:pt x="9309378" y="4010779"/>
                  </a:cubicBezTo>
                  <a:lnTo>
                    <a:pt x="9313454" y="3956428"/>
                  </a:lnTo>
                  <a:cubicBezTo>
                    <a:pt x="9318326" y="3889806"/>
                    <a:pt x="9320611" y="3821796"/>
                    <a:pt x="9320811" y="3753546"/>
                  </a:cubicBezTo>
                  <a:cubicBezTo>
                    <a:pt x="9320910" y="3719373"/>
                    <a:pt x="9320513" y="3685056"/>
                    <a:pt x="9319617" y="3650643"/>
                  </a:cubicBezTo>
                  <a:lnTo>
                    <a:pt x="9318176" y="3600030"/>
                  </a:lnTo>
                  <a:lnTo>
                    <a:pt x="9317778" y="3588096"/>
                  </a:lnTo>
                  <a:lnTo>
                    <a:pt x="9316983" y="3575107"/>
                  </a:lnTo>
                  <a:lnTo>
                    <a:pt x="9315443" y="3549130"/>
                  </a:lnTo>
                  <a:lnTo>
                    <a:pt x="9312311" y="3497176"/>
                  </a:lnTo>
                  <a:cubicBezTo>
                    <a:pt x="9311118" y="3479825"/>
                    <a:pt x="9309129" y="3462427"/>
                    <a:pt x="9307587" y="3445029"/>
                  </a:cubicBezTo>
                  <a:lnTo>
                    <a:pt x="9302618" y="3392835"/>
                  </a:lnTo>
                  <a:lnTo>
                    <a:pt x="9301574" y="3381476"/>
                  </a:lnTo>
                  <a:lnTo>
                    <a:pt x="9300430" y="3370740"/>
                  </a:lnTo>
                  <a:lnTo>
                    <a:pt x="9297547" y="3346966"/>
                  </a:lnTo>
                  <a:lnTo>
                    <a:pt x="9294017" y="3320030"/>
                  </a:lnTo>
                  <a:lnTo>
                    <a:pt x="9290439" y="3290410"/>
                  </a:lnTo>
                  <a:cubicBezTo>
                    <a:pt x="9288849" y="3275745"/>
                    <a:pt x="9286761" y="3260934"/>
                    <a:pt x="9284275" y="3244544"/>
                  </a:cubicBezTo>
                  <a:lnTo>
                    <a:pt x="9275974" y="3193116"/>
                  </a:lnTo>
                  <a:cubicBezTo>
                    <a:pt x="9273189" y="3176197"/>
                    <a:pt x="9270256" y="3159230"/>
                    <a:pt x="9267224" y="3142264"/>
                  </a:cubicBezTo>
                  <a:cubicBezTo>
                    <a:pt x="9255146" y="3074493"/>
                    <a:pt x="9240929" y="3007057"/>
                    <a:pt x="9225320" y="2939909"/>
                  </a:cubicBezTo>
                  <a:cubicBezTo>
                    <a:pt x="9217465" y="2906311"/>
                    <a:pt x="9209214" y="2872809"/>
                    <a:pt x="9200466" y="2839449"/>
                  </a:cubicBezTo>
                  <a:lnTo>
                    <a:pt x="9193953" y="2814958"/>
                  </a:lnTo>
                  <a:lnTo>
                    <a:pt x="9186993" y="2790276"/>
                  </a:lnTo>
                  <a:cubicBezTo>
                    <a:pt x="9182471" y="2773836"/>
                    <a:pt x="9177599" y="2757252"/>
                    <a:pt x="9172628" y="2740621"/>
                  </a:cubicBezTo>
                  <a:cubicBezTo>
                    <a:pt x="9133110" y="2607859"/>
                    <a:pt x="9087527" y="2476533"/>
                    <a:pt x="9035082" y="2347463"/>
                  </a:cubicBezTo>
                  <a:cubicBezTo>
                    <a:pt x="9008836" y="2282951"/>
                    <a:pt x="8981298" y="2218870"/>
                    <a:pt x="8952118" y="2155413"/>
                  </a:cubicBezTo>
                  <a:lnTo>
                    <a:pt x="8929948" y="2107915"/>
                  </a:lnTo>
                  <a:lnTo>
                    <a:pt x="8907429" y="2060753"/>
                  </a:lnTo>
                  <a:cubicBezTo>
                    <a:pt x="8892170" y="2029408"/>
                    <a:pt x="8876411" y="1997726"/>
                    <a:pt x="8860404" y="1966478"/>
                  </a:cubicBezTo>
                  <a:cubicBezTo>
                    <a:pt x="8828243" y="1903931"/>
                    <a:pt x="8795336" y="1841670"/>
                    <a:pt x="8760788" y="1780274"/>
                  </a:cubicBezTo>
                  <a:lnTo>
                    <a:pt x="8734740" y="1734311"/>
                  </a:lnTo>
                  <a:lnTo>
                    <a:pt x="8708046" y="1687963"/>
                  </a:lnTo>
                  <a:cubicBezTo>
                    <a:pt x="8690300" y="1657337"/>
                    <a:pt x="8672455" y="1627334"/>
                    <a:pt x="8654062" y="1597234"/>
                  </a:cubicBezTo>
                  <a:cubicBezTo>
                    <a:pt x="8617575" y="1536988"/>
                    <a:pt x="8579398" y="1477365"/>
                    <a:pt x="8540278" y="1418077"/>
                  </a:cubicBezTo>
                  <a:lnTo>
                    <a:pt x="8510701" y="1373695"/>
                  </a:lnTo>
                  <a:lnTo>
                    <a:pt x="8480676" y="1329457"/>
                  </a:lnTo>
                  <a:cubicBezTo>
                    <a:pt x="8460643" y="1300269"/>
                    <a:pt x="8440411" y="1271224"/>
                    <a:pt x="8419782" y="1242275"/>
                  </a:cubicBezTo>
                  <a:cubicBezTo>
                    <a:pt x="8378476" y="1184425"/>
                    <a:pt x="8335923" y="1127006"/>
                    <a:pt x="8292478" y="1069875"/>
                  </a:cubicBezTo>
                  <a:lnTo>
                    <a:pt x="8259620" y="1027123"/>
                  </a:lnTo>
                  <a:lnTo>
                    <a:pt x="8243416" y="1006130"/>
                  </a:lnTo>
                  <a:lnTo>
                    <a:pt x="8227110" y="985473"/>
                  </a:lnTo>
                  <a:cubicBezTo>
                    <a:pt x="8204890" y="957483"/>
                    <a:pt x="8182422" y="929684"/>
                    <a:pt x="8159604" y="902029"/>
                  </a:cubicBezTo>
                  <a:cubicBezTo>
                    <a:pt x="8114170" y="846671"/>
                    <a:pt x="8067494" y="792177"/>
                    <a:pt x="8020022" y="738209"/>
                  </a:cubicBezTo>
                  <a:lnTo>
                    <a:pt x="7984182" y="697901"/>
                  </a:lnTo>
                  <a:lnTo>
                    <a:pt x="7948043" y="657976"/>
                  </a:lnTo>
                  <a:cubicBezTo>
                    <a:pt x="7923636" y="631328"/>
                    <a:pt x="7899079" y="604823"/>
                    <a:pt x="7874324" y="578607"/>
                  </a:cubicBezTo>
                  <a:cubicBezTo>
                    <a:pt x="7824714" y="526221"/>
                    <a:pt x="7774608" y="474458"/>
                    <a:pt x="7723308" y="424085"/>
                  </a:cubicBezTo>
                  <a:cubicBezTo>
                    <a:pt x="7672157" y="373808"/>
                    <a:pt x="7619168" y="324153"/>
                    <a:pt x="7565532" y="275602"/>
                  </a:cubicBezTo>
                  <a:close/>
                  <a:moveTo>
                    <a:pt x="1832515" y="0"/>
                  </a:moveTo>
                  <a:lnTo>
                    <a:pt x="2158449" y="0"/>
                  </a:lnTo>
                  <a:lnTo>
                    <a:pt x="2108797" y="37845"/>
                  </a:lnTo>
                  <a:cubicBezTo>
                    <a:pt x="2052253" y="83168"/>
                    <a:pt x="1996914" y="129778"/>
                    <a:pt x="1942830" y="177587"/>
                  </a:cubicBezTo>
                  <a:cubicBezTo>
                    <a:pt x="1834563" y="273109"/>
                    <a:pt x="1731317" y="373472"/>
                    <a:pt x="1633191" y="477909"/>
                  </a:cubicBezTo>
                  <a:cubicBezTo>
                    <a:pt x="1240290" y="896038"/>
                    <a:pt x="927123" y="1375900"/>
                    <a:pt x="702686" y="1889935"/>
                  </a:cubicBezTo>
                  <a:cubicBezTo>
                    <a:pt x="646565" y="2018192"/>
                    <a:pt x="596210" y="2149182"/>
                    <a:pt x="551769" y="2281416"/>
                  </a:cubicBezTo>
                  <a:cubicBezTo>
                    <a:pt x="507429" y="2413700"/>
                    <a:pt x="469451" y="2547613"/>
                    <a:pt x="438383" y="2682772"/>
                  </a:cubicBezTo>
                  <a:cubicBezTo>
                    <a:pt x="423122" y="2750111"/>
                    <a:pt x="409203" y="2818553"/>
                    <a:pt x="397124" y="2887044"/>
                  </a:cubicBezTo>
                  <a:cubicBezTo>
                    <a:pt x="385144" y="2955581"/>
                    <a:pt x="374357" y="3024359"/>
                    <a:pt x="365658" y="3093424"/>
                  </a:cubicBezTo>
                  <a:cubicBezTo>
                    <a:pt x="347813" y="3231506"/>
                    <a:pt x="336727" y="3370260"/>
                    <a:pt x="332105" y="3509828"/>
                  </a:cubicBezTo>
                  <a:cubicBezTo>
                    <a:pt x="322311" y="3788822"/>
                    <a:pt x="339660" y="4068628"/>
                    <a:pt x="383653" y="4346327"/>
                  </a:cubicBezTo>
                  <a:cubicBezTo>
                    <a:pt x="394539" y="4415489"/>
                    <a:pt x="407464" y="4484267"/>
                    <a:pt x="422327" y="4552900"/>
                  </a:cubicBezTo>
                  <a:cubicBezTo>
                    <a:pt x="437041" y="4621534"/>
                    <a:pt x="453693" y="4689881"/>
                    <a:pt x="472184" y="4757939"/>
                  </a:cubicBezTo>
                  <a:cubicBezTo>
                    <a:pt x="490677" y="4825949"/>
                    <a:pt x="511007" y="4893673"/>
                    <a:pt x="533078" y="4960916"/>
                  </a:cubicBezTo>
                  <a:cubicBezTo>
                    <a:pt x="555249" y="5028208"/>
                    <a:pt x="578662" y="5095022"/>
                    <a:pt x="604710" y="5160875"/>
                  </a:cubicBezTo>
                  <a:cubicBezTo>
                    <a:pt x="707358" y="5425298"/>
                    <a:pt x="838443" y="5680902"/>
                    <a:pt x="996766" y="5920640"/>
                  </a:cubicBezTo>
                  <a:cubicBezTo>
                    <a:pt x="1154790" y="6160571"/>
                    <a:pt x="1340404" y="6384350"/>
                    <a:pt x="1549183" y="6586417"/>
                  </a:cubicBezTo>
                  <a:cubicBezTo>
                    <a:pt x="1601365" y="6636982"/>
                    <a:pt x="1654970" y="6686208"/>
                    <a:pt x="1709890" y="6734063"/>
                  </a:cubicBezTo>
                  <a:lnTo>
                    <a:pt x="1859761" y="6858000"/>
                  </a:lnTo>
                  <a:lnTo>
                    <a:pt x="1671798" y="6858000"/>
                  </a:lnTo>
                  <a:lnTo>
                    <a:pt x="1628044" y="6822717"/>
                  </a:lnTo>
                  <a:cubicBezTo>
                    <a:pt x="1570828" y="6774460"/>
                    <a:pt x="1514710" y="6724955"/>
                    <a:pt x="1459756" y="6674223"/>
                  </a:cubicBezTo>
                  <a:cubicBezTo>
                    <a:pt x="1019931" y="6268363"/>
                    <a:pt x="658296" y="5781216"/>
                    <a:pt x="402543" y="5241588"/>
                  </a:cubicBezTo>
                  <a:cubicBezTo>
                    <a:pt x="370231" y="5174103"/>
                    <a:pt x="340306" y="5105661"/>
                    <a:pt x="311923" y="5036741"/>
                  </a:cubicBezTo>
                  <a:cubicBezTo>
                    <a:pt x="283539" y="4967771"/>
                    <a:pt x="256895" y="4897986"/>
                    <a:pt x="232140" y="4827483"/>
                  </a:cubicBezTo>
                  <a:cubicBezTo>
                    <a:pt x="207334" y="4756981"/>
                    <a:pt x="184368" y="4685758"/>
                    <a:pt x="163392" y="4613913"/>
                  </a:cubicBezTo>
                  <a:cubicBezTo>
                    <a:pt x="142514" y="4542020"/>
                    <a:pt x="123624" y="4469360"/>
                    <a:pt x="106823" y="4396365"/>
                  </a:cubicBezTo>
                  <a:cubicBezTo>
                    <a:pt x="73120" y="4250902"/>
                    <a:pt x="47371" y="4103281"/>
                    <a:pt x="29326" y="3954702"/>
                  </a:cubicBezTo>
                  <a:cubicBezTo>
                    <a:pt x="20478" y="3880365"/>
                    <a:pt x="13320" y="3805789"/>
                    <a:pt x="8647" y="3730971"/>
                  </a:cubicBezTo>
                  <a:cubicBezTo>
                    <a:pt x="6311" y="3693587"/>
                    <a:pt x="4322" y="3656106"/>
                    <a:pt x="2880" y="3618674"/>
                  </a:cubicBezTo>
                  <a:cubicBezTo>
                    <a:pt x="1539" y="3581146"/>
                    <a:pt x="694" y="3543809"/>
                    <a:pt x="296" y="3506425"/>
                  </a:cubicBezTo>
                  <a:cubicBezTo>
                    <a:pt x="-1543" y="3356649"/>
                    <a:pt x="5217" y="3206200"/>
                    <a:pt x="20030" y="3056711"/>
                  </a:cubicBezTo>
                  <a:cubicBezTo>
                    <a:pt x="27686" y="2981942"/>
                    <a:pt x="36931" y="2907317"/>
                    <a:pt x="48664" y="2832980"/>
                  </a:cubicBezTo>
                  <a:cubicBezTo>
                    <a:pt x="60395" y="2758642"/>
                    <a:pt x="73716" y="2684784"/>
                    <a:pt x="89922" y="2610639"/>
                  </a:cubicBezTo>
                  <a:cubicBezTo>
                    <a:pt x="121736" y="2462826"/>
                    <a:pt x="162645" y="2317220"/>
                    <a:pt x="211163" y="2174343"/>
                  </a:cubicBezTo>
                  <a:cubicBezTo>
                    <a:pt x="259778" y="2031468"/>
                    <a:pt x="315601" y="1891517"/>
                    <a:pt x="379129" y="1754393"/>
                  </a:cubicBezTo>
                  <a:cubicBezTo>
                    <a:pt x="505540" y="1480433"/>
                    <a:pt x="660930" y="1219318"/>
                    <a:pt x="841424" y="976270"/>
                  </a:cubicBezTo>
                  <a:cubicBezTo>
                    <a:pt x="931498" y="854627"/>
                    <a:pt x="1028182" y="737777"/>
                    <a:pt x="1130234" y="625768"/>
                  </a:cubicBezTo>
                  <a:cubicBezTo>
                    <a:pt x="1232486" y="513855"/>
                    <a:pt x="1340157" y="407117"/>
                    <a:pt x="1452897" y="305748"/>
                  </a:cubicBezTo>
                  <a:cubicBezTo>
                    <a:pt x="1565736" y="204380"/>
                    <a:pt x="1683596" y="108665"/>
                    <a:pt x="1805682" y="18752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D3FC2AE7-C60C-4C48-BCAE-410BB6C3DF5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308320" y="36937"/>
              <a:ext cx="9767847" cy="6858000"/>
            </a:xfrm>
            <a:custGeom>
              <a:avLst/>
              <a:gdLst>
                <a:gd name="connsiteX0" fmla="*/ 7151367 w 9767847"/>
                <a:gd name="connsiteY0" fmla="*/ 0 h 6858000"/>
                <a:gd name="connsiteX1" fmla="*/ 7881247 w 9767847"/>
                <a:gd name="connsiteY1" fmla="*/ 0 h 6858000"/>
                <a:gd name="connsiteX2" fmla="*/ 7990553 w 9767847"/>
                <a:gd name="connsiteY2" fmla="*/ 81317 h 6858000"/>
                <a:gd name="connsiteX3" fmla="*/ 9767847 w 9767847"/>
                <a:gd name="connsiteY3" fmla="*/ 3649031 h 6858000"/>
                <a:gd name="connsiteX4" fmla="*/ 8652597 w 9767847"/>
                <a:gd name="connsiteY4" fmla="*/ 6590005 h 6858000"/>
                <a:gd name="connsiteX5" fmla="*/ 8395306 w 9767847"/>
                <a:gd name="connsiteY5" fmla="*/ 6858000 h 6858000"/>
                <a:gd name="connsiteX6" fmla="*/ 6762603 w 9767847"/>
                <a:gd name="connsiteY6" fmla="*/ 6858000 h 6858000"/>
                <a:gd name="connsiteX7" fmla="*/ 6765962 w 9767847"/>
                <a:gd name="connsiteY7" fmla="*/ 6854844 h 6858000"/>
                <a:gd name="connsiteX8" fmla="*/ 6804586 w 9767847"/>
                <a:gd name="connsiteY8" fmla="*/ 6817103 h 6858000"/>
                <a:gd name="connsiteX9" fmla="*/ 6881735 w 9767847"/>
                <a:gd name="connsiteY9" fmla="*/ 6741197 h 6858000"/>
                <a:gd name="connsiteX10" fmla="*/ 6958883 w 9767847"/>
                <a:gd name="connsiteY10" fmla="*/ 6664822 h 6858000"/>
                <a:gd name="connsiteX11" fmla="*/ 7267925 w 9767847"/>
                <a:gd name="connsiteY11" fmla="*/ 6355694 h 6858000"/>
                <a:gd name="connsiteX12" fmla="*/ 7424360 w 9767847"/>
                <a:gd name="connsiteY12" fmla="*/ 6200685 h 6858000"/>
                <a:gd name="connsiteX13" fmla="*/ 7504938 w 9767847"/>
                <a:gd name="connsiteY13" fmla="*/ 6122708 h 6858000"/>
                <a:gd name="connsiteX14" fmla="*/ 7546396 w 9767847"/>
                <a:gd name="connsiteY14" fmla="*/ 6083697 h 6858000"/>
                <a:gd name="connsiteX15" fmla="*/ 7588002 w 9767847"/>
                <a:gd name="connsiteY15" fmla="*/ 6045532 h 6858000"/>
                <a:gd name="connsiteX16" fmla="*/ 7631000 w 9767847"/>
                <a:gd name="connsiteY16" fmla="*/ 6006709 h 6858000"/>
                <a:gd name="connsiteX17" fmla="*/ 7675440 w 9767847"/>
                <a:gd name="connsiteY17" fmla="*/ 5968309 h 6858000"/>
                <a:gd name="connsiteX18" fmla="*/ 7720626 w 9767847"/>
                <a:gd name="connsiteY18" fmla="*/ 5930851 h 6858000"/>
                <a:gd name="connsiteX19" fmla="*/ 7766458 w 9767847"/>
                <a:gd name="connsiteY19" fmla="*/ 5894334 h 6858000"/>
                <a:gd name="connsiteX20" fmla="*/ 7955254 w 9767847"/>
                <a:gd name="connsiteY20" fmla="*/ 5756828 h 6858000"/>
                <a:gd name="connsiteX21" fmla="*/ 8352678 w 9767847"/>
                <a:gd name="connsiteY21" fmla="*/ 5517630 h 6858000"/>
                <a:gd name="connsiteX22" fmla="*/ 8451350 w 9767847"/>
                <a:gd name="connsiteY22" fmla="*/ 5465254 h 6858000"/>
                <a:gd name="connsiteX23" fmla="*/ 8548532 w 9767847"/>
                <a:gd name="connsiteY23" fmla="*/ 5413395 h 6858000"/>
                <a:gd name="connsiteX24" fmla="*/ 8729473 w 9767847"/>
                <a:gd name="connsiteY24" fmla="*/ 5309961 h 6858000"/>
                <a:gd name="connsiteX25" fmla="*/ 8770781 w 9767847"/>
                <a:gd name="connsiteY25" fmla="*/ 5283232 h 6858000"/>
                <a:gd name="connsiteX26" fmla="*/ 8790964 w 9767847"/>
                <a:gd name="connsiteY26" fmla="*/ 5269492 h 6858000"/>
                <a:gd name="connsiteX27" fmla="*/ 8810499 w 9767847"/>
                <a:gd name="connsiteY27" fmla="*/ 5255703 h 6858000"/>
                <a:gd name="connsiteX28" fmla="*/ 8883571 w 9767847"/>
                <a:gd name="connsiteY28" fmla="*/ 5198479 h 6858000"/>
                <a:gd name="connsiteX29" fmla="*/ 9006651 w 9767847"/>
                <a:gd name="connsiteY29" fmla="*/ 5070527 h 6858000"/>
                <a:gd name="connsiteX30" fmla="*/ 9033494 w 9767847"/>
                <a:gd name="connsiteY30" fmla="*/ 5034105 h 6858000"/>
                <a:gd name="connsiteX31" fmla="*/ 9040305 w 9767847"/>
                <a:gd name="connsiteY31" fmla="*/ 5024551 h 6858000"/>
                <a:gd name="connsiteX32" fmla="*/ 9046568 w 9767847"/>
                <a:gd name="connsiteY32" fmla="*/ 5015281 h 6858000"/>
                <a:gd name="connsiteX33" fmla="*/ 9058846 w 9767847"/>
                <a:gd name="connsiteY33" fmla="*/ 4996645 h 6858000"/>
                <a:gd name="connsiteX34" fmla="*/ 9104529 w 9767847"/>
                <a:gd name="connsiteY34" fmla="*/ 4918105 h 6858000"/>
                <a:gd name="connsiteX35" fmla="*/ 9181081 w 9767847"/>
                <a:gd name="connsiteY35" fmla="*/ 4744694 h 6858000"/>
                <a:gd name="connsiteX36" fmla="*/ 9240731 w 9767847"/>
                <a:gd name="connsiteY36" fmla="*/ 4557872 h 6858000"/>
                <a:gd name="connsiteX37" fmla="*/ 9265388 w 9767847"/>
                <a:gd name="connsiteY37" fmla="*/ 4461073 h 6858000"/>
                <a:gd name="connsiteX38" fmla="*/ 9276571 w 9767847"/>
                <a:gd name="connsiteY38" fmla="*/ 4411943 h 6858000"/>
                <a:gd name="connsiteX39" fmla="*/ 9281841 w 9767847"/>
                <a:gd name="connsiteY39" fmla="*/ 4387379 h 6858000"/>
                <a:gd name="connsiteX40" fmla="*/ 9286513 w 9767847"/>
                <a:gd name="connsiteY40" fmla="*/ 4364838 h 6858000"/>
                <a:gd name="connsiteX41" fmla="*/ 9296754 w 9767847"/>
                <a:gd name="connsiteY41" fmla="*/ 4312038 h 6858000"/>
                <a:gd name="connsiteX42" fmla="*/ 9301029 w 9767847"/>
                <a:gd name="connsiteY42" fmla="*/ 4289074 h 6858000"/>
                <a:gd name="connsiteX43" fmla="*/ 9302818 w 9767847"/>
                <a:gd name="connsiteY43" fmla="*/ 4278581 h 6858000"/>
                <a:gd name="connsiteX44" fmla="*/ 9304658 w 9767847"/>
                <a:gd name="connsiteY44" fmla="*/ 4266816 h 6858000"/>
                <a:gd name="connsiteX45" fmla="*/ 9312810 w 9767847"/>
                <a:gd name="connsiteY45" fmla="*/ 4215945 h 6858000"/>
                <a:gd name="connsiteX46" fmla="*/ 9316887 w 9767847"/>
                <a:gd name="connsiteY46" fmla="*/ 4190486 h 6858000"/>
                <a:gd name="connsiteX47" fmla="*/ 9318923 w 9767847"/>
                <a:gd name="connsiteY47" fmla="*/ 4177780 h 6858000"/>
                <a:gd name="connsiteX48" fmla="*/ 9320515 w 9767847"/>
                <a:gd name="connsiteY48" fmla="*/ 4164886 h 6858000"/>
                <a:gd name="connsiteX49" fmla="*/ 9332445 w 9767847"/>
                <a:gd name="connsiteY49" fmla="*/ 4064981 h 6858000"/>
                <a:gd name="connsiteX50" fmla="*/ 9336173 w 9767847"/>
                <a:gd name="connsiteY50" fmla="*/ 4018676 h 6858000"/>
                <a:gd name="connsiteX51" fmla="*/ 9340199 w 9767847"/>
                <a:gd name="connsiteY51" fmla="*/ 3965171 h 6858000"/>
                <a:gd name="connsiteX52" fmla="*/ 9347557 w 9767847"/>
                <a:gd name="connsiteY52" fmla="*/ 3765972 h 6858000"/>
                <a:gd name="connsiteX53" fmla="*/ 9346364 w 9767847"/>
                <a:gd name="connsiteY53" fmla="*/ 3664938 h 6858000"/>
                <a:gd name="connsiteX54" fmla="*/ 9344921 w 9767847"/>
                <a:gd name="connsiteY54" fmla="*/ 3615243 h 6858000"/>
                <a:gd name="connsiteX55" fmla="*/ 9344524 w 9767847"/>
                <a:gd name="connsiteY55" fmla="*/ 3603526 h 6858000"/>
                <a:gd name="connsiteX56" fmla="*/ 9343728 w 9767847"/>
                <a:gd name="connsiteY56" fmla="*/ 3590774 h 6858000"/>
                <a:gd name="connsiteX57" fmla="*/ 9342188 w 9767847"/>
                <a:gd name="connsiteY57" fmla="*/ 3565268 h 6858000"/>
                <a:gd name="connsiteX58" fmla="*/ 9339056 w 9767847"/>
                <a:gd name="connsiteY58" fmla="*/ 3514256 h 6858000"/>
                <a:gd name="connsiteX59" fmla="*/ 9334334 w 9767847"/>
                <a:gd name="connsiteY59" fmla="*/ 3463057 h 6858000"/>
                <a:gd name="connsiteX60" fmla="*/ 9329363 w 9767847"/>
                <a:gd name="connsiteY60" fmla="*/ 3411810 h 6858000"/>
                <a:gd name="connsiteX61" fmla="*/ 9328319 w 9767847"/>
                <a:gd name="connsiteY61" fmla="*/ 3400657 h 6858000"/>
                <a:gd name="connsiteX62" fmla="*/ 9327177 w 9767847"/>
                <a:gd name="connsiteY62" fmla="*/ 3390116 h 6858000"/>
                <a:gd name="connsiteX63" fmla="*/ 9324293 w 9767847"/>
                <a:gd name="connsiteY63" fmla="*/ 3366774 h 6858000"/>
                <a:gd name="connsiteX64" fmla="*/ 9320763 w 9767847"/>
                <a:gd name="connsiteY64" fmla="*/ 3340329 h 6858000"/>
                <a:gd name="connsiteX65" fmla="*/ 9317184 w 9767847"/>
                <a:gd name="connsiteY65" fmla="*/ 3311245 h 6858000"/>
                <a:gd name="connsiteX66" fmla="*/ 9311021 w 9767847"/>
                <a:gd name="connsiteY66" fmla="*/ 3266211 h 6858000"/>
                <a:gd name="connsiteX67" fmla="*/ 9302719 w 9767847"/>
                <a:gd name="connsiteY67" fmla="*/ 3215717 h 6858000"/>
                <a:gd name="connsiteX68" fmla="*/ 9293970 w 9767847"/>
                <a:gd name="connsiteY68" fmla="*/ 3165789 h 6858000"/>
                <a:gd name="connsiteX69" fmla="*/ 9252065 w 9767847"/>
                <a:gd name="connsiteY69" fmla="*/ 2967107 h 6858000"/>
                <a:gd name="connsiteX70" fmla="*/ 9227211 w 9767847"/>
                <a:gd name="connsiteY70" fmla="*/ 2868473 h 6858000"/>
                <a:gd name="connsiteX71" fmla="*/ 9220699 w 9767847"/>
                <a:gd name="connsiteY71" fmla="*/ 2844426 h 6858000"/>
                <a:gd name="connsiteX72" fmla="*/ 9213740 w 9767847"/>
                <a:gd name="connsiteY72" fmla="*/ 2820191 h 6858000"/>
                <a:gd name="connsiteX73" fmla="*/ 9199374 w 9767847"/>
                <a:gd name="connsiteY73" fmla="*/ 2771438 h 6858000"/>
                <a:gd name="connsiteX74" fmla="*/ 9061829 w 9767847"/>
                <a:gd name="connsiteY74" fmla="*/ 2385418 h 6858000"/>
                <a:gd name="connsiteX75" fmla="*/ 8978865 w 9767847"/>
                <a:gd name="connsiteY75" fmla="*/ 2196855 h 6858000"/>
                <a:gd name="connsiteX76" fmla="*/ 8956694 w 9767847"/>
                <a:gd name="connsiteY76" fmla="*/ 2150219 h 6858000"/>
                <a:gd name="connsiteX77" fmla="*/ 8934176 w 9767847"/>
                <a:gd name="connsiteY77" fmla="*/ 2103914 h 6858000"/>
                <a:gd name="connsiteX78" fmla="*/ 8887151 w 9767847"/>
                <a:gd name="connsiteY78" fmla="*/ 2011350 h 6858000"/>
                <a:gd name="connsiteX79" fmla="*/ 8787533 w 9767847"/>
                <a:gd name="connsiteY79" fmla="*/ 1828527 h 6858000"/>
                <a:gd name="connsiteX80" fmla="*/ 8761485 w 9767847"/>
                <a:gd name="connsiteY80" fmla="*/ 1783398 h 6858000"/>
                <a:gd name="connsiteX81" fmla="*/ 8734791 w 9767847"/>
                <a:gd name="connsiteY81" fmla="*/ 1737893 h 6858000"/>
                <a:gd name="connsiteX82" fmla="*/ 8680808 w 9767847"/>
                <a:gd name="connsiteY82" fmla="*/ 1648812 h 6858000"/>
                <a:gd name="connsiteX83" fmla="*/ 8567024 w 9767847"/>
                <a:gd name="connsiteY83" fmla="*/ 1472906 h 6858000"/>
                <a:gd name="connsiteX84" fmla="*/ 8537446 w 9767847"/>
                <a:gd name="connsiteY84" fmla="*/ 1429330 h 6858000"/>
                <a:gd name="connsiteX85" fmla="*/ 8507423 w 9767847"/>
                <a:gd name="connsiteY85" fmla="*/ 1385896 h 6858000"/>
                <a:gd name="connsiteX86" fmla="*/ 8446529 w 9767847"/>
                <a:gd name="connsiteY86" fmla="*/ 1300295 h 6858000"/>
                <a:gd name="connsiteX87" fmla="*/ 8319224 w 9767847"/>
                <a:gd name="connsiteY87" fmla="*/ 1131026 h 6858000"/>
                <a:gd name="connsiteX88" fmla="*/ 8286366 w 9767847"/>
                <a:gd name="connsiteY88" fmla="*/ 1089050 h 6858000"/>
                <a:gd name="connsiteX89" fmla="*/ 8270161 w 9767847"/>
                <a:gd name="connsiteY89" fmla="*/ 1068439 h 6858000"/>
                <a:gd name="connsiteX90" fmla="*/ 8253856 w 9767847"/>
                <a:gd name="connsiteY90" fmla="*/ 1048156 h 6858000"/>
                <a:gd name="connsiteX91" fmla="*/ 8186352 w 9767847"/>
                <a:gd name="connsiteY91" fmla="*/ 966275 h 6858000"/>
                <a:gd name="connsiteX92" fmla="*/ 8046768 w 9767847"/>
                <a:gd name="connsiteY92" fmla="*/ 805429 h 6858000"/>
                <a:gd name="connsiteX93" fmla="*/ 8010927 w 9767847"/>
                <a:gd name="connsiteY93" fmla="*/ 765853 h 6858000"/>
                <a:gd name="connsiteX94" fmla="*/ 7974788 w 9767847"/>
                <a:gd name="connsiteY94" fmla="*/ 726653 h 6858000"/>
                <a:gd name="connsiteX95" fmla="*/ 7901070 w 9767847"/>
                <a:gd name="connsiteY95" fmla="*/ 648724 h 6858000"/>
                <a:gd name="connsiteX96" fmla="*/ 7750054 w 9767847"/>
                <a:gd name="connsiteY96" fmla="*/ 497008 h 6858000"/>
                <a:gd name="connsiteX97" fmla="*/ 7592277 w 9767847"/>
                <a:gd name="connsiteY97" fmla="*/ 351221 h 6858000"/>
                <a:gd name="connsiteX98" fmla="*/ 7257734 w 9767847"/>
                <a:gd name="connsiteY98" fmla="*/ 76964 h 6858000"/>
                <a:gd name="connsiteX99" fmla="*/ 1886601 w 9767847"/>
                <a:gd name="connsiteY99" fmla="*/ 0 h 6858000"/>
                <a:gd name="connsiteX100" fmla="*/ 2292926 w 9767847"/>
                <a:gd name="connsiteY100" fmla="*/ 0 h 6858000"/>
                <a:gd name="connsiteX101" fmla="*/ 2135542 w 9767847"/>
                <a:gd name="connsiteY101" fmla="*/ 117781 h 6858000"/>
                <a:gd name="connsiteX102" fmla="*/ 1969576 w 9767847"/>
                <a:gd name="connsiteY102" fmla="*/ 254986 h 6858000"/>
                <a:gd name="connsiteX103" fmla="*/ 1659938 w 9767847"/>
                <a:gd name="connsiteY103" fmla="*/ 549855 h 6858000"/>
                <a:gd name="connsiteX104" fmla="*/ 729383 w 9767847"/>
                <a:gd name="connsiteY104" fmla="*/ 1936480 h 6858000"/>
                <a:gd name="connsiteX105" fmla="*/ 578465 w 9767847"/>
                <a:gd name="connsiteY105" fmla="*/ 2320807 h 6858000"/>
                <a:gd name="connsiteX106" fmla="*/ 465080 w 9767847"/>
                <a:gd name="connsiteY106" fmla="*/ 2714875 h 6858000"/>
                <a:gd name="connsiteX107" fmla="*/ 423820 w 9767847"/>
                <a:gd name="connsiteY107" fmla="*/ 2915436 h 6858000"/>
                <a:gd name="connsiteX108" fmla="*/ 392355 w 9767847"/>
                <a:gd name="connsiteY108" fmla="*/ 3118071 h 6858000"/>
                <a:gd name="connsiteX109" fmla="*/ 358801 w 9767847"/>
                <a:gd name="connsiteY109" fmla="*/ 3526915 h 6858000"/>
                <a:gd name="connsiteX110" fmla="*/ 410350 w 9767847"/>
                <a:gd name="connsiteY110" fmla="*/ 4348226 h 6858000"/>
                <a:gd name="connsiteX111" fmla="*/ 449022 w 9767847"/>
                <a:gd name="connsiteY111" fmla="*/ 4551049 h 6858000"/>
                <a:gd name="connsiteX112" fmla="*/ 498882 w 9767847"/>
                <a:gd name="connsiteY112" fmla="*/ 4752365 h 6858000"/>
                <a:gd name="connsiteX113" fmla="*/ 559775 w 9767847"/>
                <a:gd name="connsiteY113" fmla="*/ 4951657 h 6858000"/>
                <a:gd name="connsiteX114" fmla="*/ 631406 w 9767847"/>
                <a:gd name="connsiteY114" fmla="*/ 5147986 h 6858000"/>
                <a:gd name="connsiteX115" fmla="*/ 1023461 w 9767847"/>
                <a:gd name="connsiteY115" fmla="*/ 5893957 h 6858000"/>
                <a:gd name="connsiteX116" fmla="*/ 1575880 w 9767847"/>
                <a:gd name="connsiteY116" fmla="*/ 6547646 h 6858000"/>
                <a:gd name="connsiteX117" fmla="*/ 1905228 w 9767847"/>
                <a:gd name="connsiteY117" fmla="*/ 6829468 h 6858000"/>
                <a:gd name="connsiteX118" fmla="*/ 1944230 w 9767847"/>
                <a:gd name="connsiteY118" fmla="*/ 6858000 h 6858000"/>
                <a:gd name="connsiteX119" fmla="*/ 1372541 w 9767847"/>
                <a:gd name="connsiteY119" fmla="*/ 6858000 h 6858000"/>
                <a:gd name="connsiteX120" fmla="*/ 1115251 w 9767847"/>
                <a:gd name="connsiteY120" fmla="*/ 6590005 h 6858000"/>
                <a:gd name="connsiteX121" fmla="*/ 0 w 9767847"/>
                <a:gd name="connsiteY121" fmla="*/ 3649031 h 6858000"/>
                <a:gd name="connsiteX122" fmla="*/ 1777294 w 9767847"/>
                <a:gd name="connsiteY122" fmla="*/ 81317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</a:cxnLst>
              <a:rect l="l" t="t" r="r" b="b"/>
              <a:pathLst>
                <a:path w="9767847" h="6858000">
                  <a:moveTo>
                    <a:pt x="7151367" y="0"/>
                  </a:moveTo>
                  <a:lnTo>
                    <a:pt x="7881247" y="0"/>
                  </a:lnTo>
                  <a:lnTo>
                    <a:pt x="7990553" y="81317"/>
                  </a:lnTo>
                  <a:cubicBezTo>
                    <a:pt x="9075991" y="929334"/>
                    <a:pt x="9767847" y="2212695"/>
                    <a:pt x="9767847" y="3649031"/>
                  </a:cubicBezTo>
                  <a:cubicBezTo>
                    <a:pt x="9767847" y="4766182"/>
                    <a:pt x="9349317" y="5790792"/>
                    <a:pt x="8652597" y="6590005"/>
                  </a:cubicBezTo>
                  <a:lnTo>
                    <a:pt x="8395306" y="6858000"/>
                  </a:lnTo>
                  <a:lnTo>
                    <a:pt x="6762603" y="6858000"/>
                  </a:lnTo>
                  <a:lnTo>
                    <a:pt x="6765962" y="6854844"/>
                  </a:lnTo>
                  <a:cubicBezTo>
                    <a:pt x="6779036" y="6842703"/>
                    <a:pt x="6791663" y="6829621"/>
                    <a:pt x="6804586" y="6817103"/>
                  </a:cubicBezTo>
                  <a:lnTo>
                    <a:pt x="6881735" y="6741197"/>
                  </a:lnTo>
                  <a:cubicBezTo>
                    <a:pt x="6907435" y="6715881"/>
                    <a:pt x="6933134" y="6690798"/>
                    <a:pt x="6958883" y="6664822"/>
                  </a:cubicBezTo>
                  <a:lnTo>
                    <a:pt x="7267925" y="6355694"/>
                  </a:lnTo>
                  <a:lnTo>
                    <a:pt x="7424360" y="6200685"/>
                  </a:lnTo>
                  <a:cubicBezTo>
                    <a:pt x="7450754" y="6174802"/>
                    <a:pt x="7477598" y="6148731"/>
                    <a:pt x="7504938" y="6122708"/>
                  </a:cubicBezTo>
                  <a:lnTo>
                    <a:pt x="7546396" y="6083697"/>
                  </a:lnTo>
                  <a:cubicBezTo>
                    <a:pt x="7560264" y="6070803"/>
                    <a:pt x="7574780" y="6057532"/>
                    <a:pt x="7588002" y="6045532"/>
                  </a:cubicBezTo>
                  <a:lnTo>
                    <a:pt x="7631000" y="6006709"/>
                  </a:lnTo>
                  <a:lnTo>
                    <a:pt x="7675440" y="5968309"/>
                  </a:lnTo>
                  <a:cubicBezTo>
                    <a:pt x="7690404" y="5955698"/>
                    <a:pt x="7705564" y="5943321"/>
                    <a:pt x="7720626" y="5930851"/>
                  </a:cubicBezTo>
                  <a:cubicBezTo>
                    <a:pt x="7735738" y="5918427"/>
                    <a:pt x="7751197" y="5906521"/>
                    <a:pt x="7766458" y="5894334"/>
                  </a:cubicBezTo>
                  <a:cubicBezTo>
                    <a:pt x="7827949" y="5846192"/>
                    <a:pt x="7890979" y="5800499"/>
                    <a:pt x="7955254" y="5756828"/>
                  </a:cubicBezTo>
                  <a:cubicBezTo>
                    <a:pt x="8083800" y="5669534"/>
                    <a:pt x="8216872" y="5590336"/>
                    <a:pt x="8352678" y="5517630"/>
                  </a:cubicBezTo>
                  <a:lnTo>
                    <a:pt x="8451350" y="5465254"/>
                  </a:lnTo>
                  <a:lnTo>
                    <a:pt x="8548532" y="5413395"/>
                  </a:lnTo>
                  <a:cubicBezTo>
                    <a:pt x="8612110" y="5379090"/>
                    <a:pt x="8673251" y="5345208"/>
                    <a:pt x="8729473" y="5309961"/>
                  </a:cubicBezTo>
                  <a:cubicBezTo>
                    <a:pt x="8743591" y="5301115"/>
                    <a:pt x="8757161" y="5292361"/>
                    <a:pt x="8770781" y="5283232"/>
                  </a:cubicBezTo>
                  <a:cubicBezTo>
                    <a:pt x="8777591" y="5278667"/>
                    <a:pt x="8784451" y="5274103"/>
                    <a:pt x="8790964" y="5269492"/>
                  </a:cubicBezTo>
                  <a:cubicBezTo>
                    <a:pt x="8797574" y="5264879"/>
                    <a:pt x="8804235" y="5260314"/>
                    <a:pt x="8810499" y="5255703"/>
                  </a:cubicBezTo>
                  <a:cubicBezTo>
                    <a:pt x="8835999" y="5237303"/>
                    <a:pt x="8860407" y="5218291"/>
                    <a:pt x="8883571" y="5198479"/>
                  </a:cubicBezTo>
                  <a:cubicBezTo>
                    <a:pt x="8929900" y="5158856"/>
                    <a:pt x="8971258" y="5116315"/>
                    <a:pt x="9006651" y="5070527"/>
                  </a:cubicBezTo>
                  <a:cubicBezTo>
                    <a:pt x="9015351" y="5059328"/>
                    <a:pt x="9024398" y="5046857"/>
                    <a:pt x="9033494" y="5034105"/>
                  </a:cubicBezTo>
                  <a:lnTo>
                    <a:pt x="9040305" y="5024551"/>
                  </a:lnTo>
                  <a:lnTo>
                    <a:pt x="9046568" y="5015281"/>
                  </a:lnTo>
                  <a:cubicBezTo>
                    <a:pt x="9050743" y="5009163"/>
                    <a:pt x="9054819" y="5002952"/>
                    <a:pt x="9058846" y="4996645"/>
                  </a:cubicBezTo>
                  <a:cubicBezTo>
                    <a:pt x="9075002" y="4971517"/>
                    <a:pt x="9090212" y="4945305"/>
                    <a:pt x="9104529" y="4918105"/>
                  </a:cubicBezTo>
                  <a:cubicBezTo>
                    <a:pt x="9133211" y="4863752"/>
                    <a:pt x="9158313" y="4805447"/>
                    <a:pt x="9181081" y="4744694"/>
                  </a:cubicBezTo>
                  <a:cubicBezTo>
                    <a:pt x="9203748" y="4684178"/>
                    <a:pt x="9223383" y="4621778"/>
                    <a:pt x="9240731" y="4557872"/>
                  </a:cubicBezTo>
                  <a:cubicBezTo>
                    <a:pt x="9249481" y="4525966"/>
                    <a:pt x="9257682" y="4493684"/>
                    <a:pt x="9265388" y="4461073"/>
                  </a:cubicBezTo>
                  <a:cubicBezTo>
                    <a:pt x="9269215" y="4444744"/>
                    <a:pt x="9272943" y="4428367"/>
                    <a:pt x="9276571" y="4411943"/>
                  </a:cubicBezTo>
                  <a:lnTo>
                    <a:pt x="9281841" y="4387379"/>
                  </a:lnTo>
                  <a:lnTo>
                    <a:pt x="9286513" y="4364838"/>
                  </a:lnTo>
                  <a:lnTo>
                    <a:pt x="9296754" y="4312038"/>
                  </a:lnTo>
                  <a:lnTo>
                    <a:pt x="9301029" y="4289074"/>
                  </a:lnTo>
                  <a:lnTo>
                    <a:pt x="9302818" y="4278581"/>
                  </a:lnTo>
                  <a:lnTo>
                    <a:pt x="9304658" y="4266816"/>
                  </a:lnTo>
                  <a:lnTo>
                    <a:pt x="9312810" y="4215945"/>
                  </a:lnTo>
                  <a:lnTo>
                    <a:pt x="9316887" y="4190486"/>
                  </a:lnTo>
                  <a:lnTo>
                    <a:pt x="9318923" y="4177780"/>
                  </a:lnTo>
                  <a:cubicBezTo>
                    <a:pt x="9319570" y="4173546"/>
                    <a:pt x="9319969" y="4169169"/>
                    <a:pt x="9320515" y="4164886"/>
                  </a:cubicBezTo>
                  <a:lnTo>
                    <a:pt x="9332445" y="4064981"/>
                  </a:lnTo>
                  <a:cubicBezTo>
                    <a:pt x="9333836" y="4052370"/>
                    <a:pt x="9334880" y="4036888"/>
                    <a:pt x="9336173" y="4018676"/>
                  </a:cubicBezTo>
                  <a:lnTo>
                    <a:pt x="9340199" y="3965171"/>
                  </a:lnTo>
                  <a:cubicBezTo>
                    <a:pt x="9345071" y="3899806"/>
                    <a:pt x="9347358" y="3832983"/>
                    <a:pt x="9347557" y="3765972"/>
                  </a:cubicBezTo>
                  <a:cubicBezTo>
                    <a:pt x="9347656" y="3732420"/>
                    <a:pt x="9347209" y="3698773"/>
                    <a:pt x="9346364" y="3664938"/>
                  </a:cubicBezTo>
                  <a:lnTo>
                    <a:pt x="9344921" y="3615243"/>
                  </a:lnTo>
                  <a:lnTo>
                    <a:pt x="9344524" y="3603526"/>
                  </a:lnTo>
                  <a:lnTo>
                    <a:pt x="9343728" y="3590774"/>
                  </a:lnTo>
                  <a:lnTo>
                    <a:pt x="9342188" y="3565268"/>
                  </a:lnTo>
                  <a:lnTo>
                    <a:pt x="9339056" y="3514256"/>
                  </a:lnTo>
                  <a:cubicBezTo>
                    <a:pt x="9337914" y="3497221"/>
                    <a:pt x="9335874" y="3480138"/>
                    <a:pt x="9334334" y="3463057"/>
                  </a:cubicBezTo>
                  <a:lnTo>
                    <a:pt x="9329363" y="3411810"/>
                  </a:lnTo>
                  <a:lnTo>
                    <a:pt x="9328319" y="3400657"/>
                  </a:lnTo>
                  <a:lnTo>
                    <a:pt x="9327177" y="3390116"/>
                  </a:lnTo>
                  <a:lnTo>
                    <a:pt x="9324293" y="3366774"/>
                  </a:lnTo>
                  <a:lnTo>
                    <a:pt x="9320763" y="3340329"/>
                  </a:lnTo>
                  <a:lnTo>
                    <a:pt x="9317184" y="3311245"/>
                  </a:lnTo>
                  <a:cubicBezTo>
                    <a:pt x="9315594" y="3296893"/>
                    <a:pt x="9313506" y="3282306"/>
                    <a:pt x="9311021" y="3266211"/>
                  </a:cubicBezTo>
                  <a:lnTo>
                    <a:pt x="9302719" y="3215717"/>
                  </a:lnTo>
                  <a:cubicBezTo>
                    <a:pt x="9299936" y="3199059"/>
                    <a:pt x="9297003" y="3182400"/>
                    <a:pt x="9293970" y="3165789"/>
                  </a:cubicBezTo>
                  <a:cubicBezTo>
                    <a:pt x="9281891" y="3099295"/>
                    <a:pt x="9267674" y="3033084"/>
                    <a:pt x="9252065" y="2967107"/>
                  </a:cubicBezTo>
                  <a:cubicBezTo>
                    <a:pt x="9244261" y="2934167"/>
                    <a:pt x="9235959" y="2901273"/>
                    <a:pt x="9227211" y="2868473"/>
                  </a:cubicBezTo>
                  <a:lnTo>
                    <a:pt x="9220699" y="2844426"/>
                  </a:lnTo>
                  <a:lnTo>
                    <a:pt x="9213740" y="2820191"/>
                  </a:lnTo>
                  <a:cubicBezTo>
                    <a:pt x="9209216" y="2804049"/>
                    <a:pt x="9204345" y="2787768"/>
                    <a:pt x="9199374" y="2771438"/>
                  </a:cubicBezTo>
                  <a:cubicBezTo>
                    <a:pt x="9159855" y="2641086"/>
                    <a:pt x="9114272" y="2512099"/>
                    <a:pt x="9061829" y="2385418"/>
                  </a:cubicBezTo>
                  <a:cubicBezTo>
                    <a:pt x="9035582" y="2322077"/>
                    <a:pt x="9008043" y="2259160"/>
                    <a:pt x="8978865" y="2196855"/>
                  </a:cubicBezTo>
                  <a:lnTo>
                    <a:pt x="8956694" y="2150219"/>
                  </a:lnTo>
                  <a:lnTo>
                    <a:pt x="8934176" y="2103914"/>
                  </a:lnTo>
                  <a:cubicBezTo>
                    <a:pt x="8918915" y="2073091"/>
                    <a:pt x="8903157" y="2042032"/>
                    <a:pt x="8887151" y="2011350"/>
                  </a:cubicBezTo>
                  <a:cubicBezTo>
                    <a:pt x="8854988" y="1949891"/>
                    <a:pt x="8822082" y="1888810"/>
                    <a:pt x="8787533" y="1828527"/>
                  </a:cubicBezTo>
                  <a:lnTo>
                    <a:pt x="8761485" y="1783398"/>
                  </a:lnTo>
                  <a:lnTo>
                    <a:pt x="8734791" y="1737893"/>
                  </a:lnTo>
                  <a:cubicBezTo>
                    <a:pt x="8717047" y="1707823"/>
                    <a:pt x="8699200" y="1678363"/>
                    <a:pt x="8680808" y="1648812"/>
                  </a:cubicBezTo>
                  <a:cubicBezTo>
                    <a:pt x="8644322" y="1589658"/>
                    <a:pt x="8606194" y="1531118"/>
                    <a:pt x="8567024" y="1472906"/>
                  </a:cubicBezTo>
                  <a:lnTo>
                    <a:pt x="8537446" y="1429330"/>
                  </a:lnTo>
                  <a:lnTo>
                    <a:pt x="8507423" y="1385896"/>
                  </a:lnTo>
                  <a:cubicBezTo>
                    <a:pt x="8487390" y="1357284"/>
                    <a:pt x="8467158" y="1328719"/>
                    <a:pt x="8446529" y="1300295"/>
                  </a:cubicBezTo>
                  <a:cubicBezTo>
                    <a:pt x="8405271" y="1243496"/>
                    <a:pt x="8362718" y="1187120"/>
                    <a:pt x="8319224" y="1131026"/>
                  </a:cubicBezTo>
                  <a:lnTo>
                    <a:pt x="8286366" y="1089050"/>
                  </a:lnTo>
                  <a:lnTo>
                    <a:pt x="8270161" y="1068439"/>
                  </a:lnTo>
                  <a:lnTo>
                    <a:pt x="8253856" y="1048156"/>
                  </a:lnTo>
                  <a:cubicBezTo>
                    <a:pt x="8231636" y="1020675"/>
                    <a:pt x="8209117" y="993381"/>
                    <a:pt x="8186352" y="966275"/>
                  </a:cubicBezTo>
                  <a:cubicBezTo>
                    <a:pt x="8140917" y="911922"/>
                    <a:pt x="8094240" y="858417"/>
                    <a:pt x="8046768" y="805429"/>
                  </a:cubicBezTo>
                  <a:lnTo>
                    <a:pt x="8010927" y="765853"/>
                  </a:lnTo>
                  <a:lnTo>
                    <a:pt x="7974788" y="726653"/>
                  </a:lnTo>
                  <a:cubicBezTo>
                    <a:pt x="7950382" y="700489"/>
                    <a:pt x="7925824" y="674465"/>
                    <a:pt x="7901070" y="648724"/>
                  </a:cubicBezTo>
                  <a:cubicBezTo>
                    <a:pt x="7851510" y="597289"/>
                    <a:pt x="7801404" y="546514"/>
                    <a:pt x="7750054" y="497008"/>
                  </a:cubicBezTo>
                  <a:cubicBezTo>
                    <a:pt x="7698902" y="447644"/>
                    <a:pt x="7645913" y="398938"/>
                    <a:pt x="7592277" y="351221"/>
                  </a:cubicBezTo>
                  <a:cubicBezTo>
                    <a:pt x="7484856" y="255786"/>
                    <a:pt x="7373308" y="164304"/>
                    <a:pt x="7257734" y="76964"/>
                  </a:cubicBezTo>
                  <a:close/>
                  <a:moveTo>
                    <a:pt x="1886601" y="0"/>
                  </a:moveTo>
                  <a:lnTo>
                    <a:pt x="2292926" y="0"/>
                  </a:lnTo>
                  <a:lnTo>
                    <a:pt x="2135542" y="117781"/>
                  </a:lnTo>
                  <a:cubicBezTo>
                    <a:pt x="2078998" y="162280"/>
                    <a:pt x="2023659" y="208045"/>
                    <a:pt x="1969576" y="254986"/>
                  </a:cubicBezTo>
                  <a:cubicBezTo>
                    <a:pt x="1861309" y="348820"/>
                    <a:pt x="1758064" y="447314"/>
                    <a:pt x="1659938" y="549855"/>
                  </a:cubicBezTo>
                  <a:cubicBezTo>
                    <a:pt x="1266987" y="960346"/>
                    <a:pt x="953820" y="1431495"/>
                    <a:pt x="729383" y="1936480"/>
                  </a:cubicBezTo>
                  <a:cubicBezTo>
                    <a:pt x="673260" y="2062362"/>
                    <a:pt x="622855" y="2190972"/>
                    <a:pt x="578465" y="2320807"/>
                  </a:cubicBezTo>
                  <a:cubicBezTo>
                    <a:pt x="534125" y="2450687"/>
                    <a:pt x="496147" y="2582216"/>
                    <a:pt x="465080" y="2714875"/>
                  </a:cubicBezTo>
                  <a:cubicBezTo>
                    <a:pt x="449769" y="2780991"/>
                    <a:pt x="435850" y="2848191"/>
                    <a:pt x="423820" y="2915436"/>
                  </a:cubicBezTo>
                  <a:cubicBezTo>
                    <a:pt x="411840" y="2982731"/>
                    <a:pt x="401054" y="3050260"/>
                    <a:pt x="392355" y="3118071"/>
                  </a:cubicBezTo>
                  <a:cubicBezTo>
                    <a:pt x="374509" y="3253646"/>
                    <a:pt x="363424" y="3389880"/>
                    <a:pt x="358801" y="3526915"/>
                  </a:cubicBezTo>
                  <a:cubicBezTo>
                    <a:pt x="349009" y="3800843"/>
                    <a:pt x="366357" y="4075570"/>
                    <a:pt x="410350" y="4348226"/>
                  </a:cubicBezTo>
                  <a:cubicBezTo>
                    <a:pt x="421286" y="4416132"/>
                    <a:pt x="434209" y="4483660"/>
                    <a:pt x="449022" y="4551049"/>
                  </a:cubicBezTo>
                  <a:cubicBezTo>
                    <a:pt x="463737" y="4618436"/>
                    <a:pt x="480389" y="4685588"/>
                    <a:pt x="498882" y="4752365"/>
                  </a:cubicBezTo>
                  <a:cubicBezTo>
                    <a:pt x="517373" y="4819141"/>
                    <a:pt x="537704" y="4885635"/>
                    <a:pt x="559775" y="4951657"/>
                  </a:cubicBezTo>
                  <a:cubicBezTo>
                    <a:pt x="581946" y="5017775"/>
                    <a:pt x="605358" y="5083375"/>
                    <a:pt x="631406" y="5147986"/>
                  </a:cubicBezTo>
                  <a:cubicBezTo>
                    <a:pt x="734055" y="5407608"/>
                    <a:pt x="865188" y="5658570"/>
                    <a:pt x="1023461" y="5893957"/>
                  </a:cubicBezTo>
                  <a:cubicBezTo>
                    <a:pt x="1181487" y="6129578"/>
                    <a:pt x="1367051" y="6349247"/>
                    <a:pt x="1575880" y="6547646"/>
                  </a:cubicBezTo>
                  <a:cubicBezTo>
                    <a:pt x="1680269" y="6646916"/>
                    <a:pt x="1790338" y="6740939"/>
                    <a:pt x="1905228" y="6829468"/>
                  </a:cubicBezTo>
                  <a:lnTo>
                    <a:pt x="1944230" y="6858000"/>
                  </a:lnTo>
                  <a:lnTo>
                    <a:pt x="1372541" y="6858000"/>
                  </a:lnTo>
                  <a:lnTo>
                    <a:pt x="1115251" y="6590005"/>
                  </a:lnTo>
                  <a:cubicBezTo>
                    <a:pt x="418530" y="5790792"/>
                    <a:pt x="0" y="4766182"/>
                    <a:pt x="0" y="3649031"/>
                  </a:cubicBezTo>
                  <a:cubicBezTo>
                    <a:pt x="0" y="2212695"/>
                    <a:pt x="691856" y="929334"/>
                    <a:pt x="1777294" y="8131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40EA1593-6BC9-441E-8F3C-46DD50F810F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303402" y="36937"/>
              <a:ext cx="9767847" cy="6858000"/>
            </a:xfrm>
            <a:custGeom>
              <a:avLst/>
              <a:gdLst>
                <a:gd name="connsiteX0" fmla="*/ 7145704 w 9767847"/>
                <a:gd name="connsiteY0" fmla="*/ 0 h 6858000"/>
                <a:gd name="connsiteX1" fmla="*/ 7875738 w 9767847"/>
                <a:gd name="connsiteY1" fmla="*/ 0 h 6858000"/>
                <a:gd name="connsiteX2" fmla="*/ 7990553 w 9767847"/>
                <a:gd name="connsiteY2" fmla="*/ 85415 h 6858000"/>
                <a:gd name="connsiteX3" fmla="*/ 9767847 w 9767847"/>
                <a:gd name="connsiteY3" fmla="*/ 3653129 h 6858000"/>
                <a:gd name="connsiteX4" fmla="*/ 8652597 w 9767847"/>
                <a:gd name="connsiteY4" fmla="*/ 6594103 h 6858000"/>
                <a:gd name="connsiteX5" fmla="*/ 8399240 w 9767847"/>
                <a:gd name="connsiteY5" fmla="*/ 6858000 h 6858000"/>
                <a:gd name="connsiteX6" fmla="*/ 6766926 w 9767847"/>
                <a:gd name="connsiteY6" fmla="*/ 6858000 h 6858000"/>
                <a:gd name="connsiteX7" fmla="*/ 6804586 w 9767847"/>
                <a:gd name="connsiteY7" fmla="*/ 6821201 h 6858000"/>
                <a:gd name="connsiteX8" fmla="*/ 6881735 w 9767847"/>
                <a:gd name="connsiteY8" fmla="*/ 6745295 h 6858000"/>
                <a:gd name="connsiteX9" fmla="*/ 6958883 w 9767847"/>
                <a:gd name="connsiteY9" fmla="*/ 6668920 h 6858000"/>
                <a:gd name="connsiteX10" fmla="*/ 7267925 w 9767847"/>
                <a:gd name="connsiteY10" fmla="*/ 6359792 h 6858000"/>
                <a:gd name="connsiteX11" fmla="*/ 7424360 w 9767847"/>
                <a:gd name="connsiteY11" fmla="*/ 6204783 h 6858000"/>
                <a:gd name="connsiteX12" fmla="*/ 7504938 w 9767847"/>
                <a:gd name="connsiteY12" fmla="*/ 6126806 h 6858000"/>
                <a:gd name="connsiteX13" fmla="*/ 7546396 w 9767847"/>
                <a:gd name="connsiteY13" fmla="*/ 6087795 h 6858000"/>
                <a:gd name="connsiteX14" fmla="*/ 7588002 w 9767847"/>
                <a:gd name="connsiteY14" fmla="*/ 6049630 h 6858000"/>
                <a:gd name="connsiteX15" fmla="*/ 7631000 w 9767847"/>
                <a:gd name="connsiteY15" fmla="*/ 6010807 h 6858000"/>
                <a:gd name="connsiteX16" fmla="*/ 7675440 w 9767847"/>
                <a:gd name="connsiteY16" fmla="*/ 5972407 h 6858000"/>
                <a:gd name="connsiteX17" fmla="*/ 7720626 w 9767847"/>
                <a:gd name="connsiteY17" fmla="*/ 5934949 h 6858000"/>
                <a:gd name="connsiteX18" fmla="*/ 7766458 w 9767847"/>
                <a:gd name="connsiteY18" fmla="*/ 5898432 h 6858000"/>
                <a:gd name="connsiteX19" fmla="*/ 7955254 w 9767847"/>
                <a:gd name="connsiteY19" fmla="*/ 5760926 h 6858000"/>
                <a:gd name="connsiteX20" fmla="*/ 8352678 w 9767847"/>
                <a:gd name="connsiteY20" fmla="*/ 5521728 h 6858000"/>
                <a:gd name="connsiteX21" fmla="*/ 8451350 w 9767847"/>
                <a:gd name="connsiteY21" fmla="*/ 5469352 h 6858000"/>
                <a:gd name="connsiteX22" fmla="*/ 8548532 w 9767847"/>
                <a:gd name="connsiteY22" fmla="*/ 5417493 h 6858000"/>
                <a:gd name="connsiteX23" fmla="*/ 8729473 w 9767847"/>
                <a:gd name="connsiteY23" fmla="*/ 5314059 h 6858000"/>
                <a:gd name="connsiteX24" fmla="*/ 8770781 w 9767847"/>
                <a:gd name="connsiteY24" fmla="*/ 5287330 h 6858000"/>
                <a:gd name="connsiteX25" fmla="*/ 8790964 w 9767847"/>
                <a:gd name="connsiteY25" fmla="*/ 5273590 h 6858000"/>
                <a:gd name="connsiteX26" fmla="*/ 8810499 w 9767847"/>
                <a:gd name="connsiteY26" fmla="*/ 5259801 h 6858000"/>
                <a:gd name="connsiteX27" fmla="*/ 8883571 w 9767847"/>
                <a:gd name="connsiteY27" fmla="*/ 5202577 h 6858000"/>
                <a:gd name="connsiteX28" fmla="*/ 9006651 w 9767847"/>
                <a:gd name="connsiteY28" fmla="*/ 5074625 h 6858000"/>
                <a:gd name="connsiteX29" fmla="*/ 9033494 w 9767847"/>
                <a:gd name="connsiteY29" fmla="*/ 5038203 h 6858000"/>
                <a:gd name="connsiteX30" fmla="*/ 9040305 w 9767847"/>
                <a:gd name="connsiteY30" fmla="*/ 5028649 h 6858000"/>
                <a:gd name="connsiteX31" fmla="*/ 9046568 w 9767847"/>
                <a:gd name="connsiteY31" fmla="*/ 5019379 h 6858000"/>
                <a:gd name="connsiteX32" fmla="*/ 9058846 w 9767847"/>
                <a:gd name="connsiteY32" fmla="*/ 5000743 h 6858000"/>
                <a:gd name="connsiteX33" fmla="*/ 9104529 w 9767847"/>
                <a:gd name="connsiteY33" fmla="*/ 4922203 h 6858000"/>
                <a:gd name="connsiteX34" fmla="*/ 9181081 w 9767847"/>
                <a:gd name="connsiteY34" fmla="*/ 4748792 h 6858000"/>
                <a:gd name="connsiteX35" fmla="*/ 9240731 w 9767847"/>
                <a:gd name="connsiteY35" fmla="*/ 4561970 h 6858000"/>
                <a:gd name="connsiteX36" fmla="*/ 9265388 w 9767847"/>
                <a:gd name="connsiteY36" fmla="*/ 4465171 h 6858000"/>
                <a:gd name="connsiteX37" fmla="*/ 9276571 w 9767847"/>
                <a:gd name="connsiteY37" fmla="*/ 4416041 h 6858000"/>
                <a:gd name="connsiteX38" fmla="*/ 9281841 w 9767847"/>
                <a:gd name="connsiteY38" fmla="*/ 4391477 h 6858000"/>
                <a:gd name="connsiteX39" fmla="*/ 9286513 w 9767847"/>
                <a:gd name="connsiteY39" fmla="*/ 4368936 h 6858000"/>
                <a:gd name="connsiteX40" fmla="*/ 9296754 w 9767847"/>
                <a:gd name="connsiteY40" fmla="*/ 4316136 h 6858000"/>
                <a:gd name="connsiteX41" fmla="*/ 9301029 w 9767847"/>
                <a:gd name="connsiteY41" fmla="*/ 4293172 h 6858000"/>
                <a:gd name="connsiteX42" fmla="*/ 9302818 w 9767847"/>
                <a:gd name="connsiteY42" fmla="*/ 4282679 h 6858000"/>
                <a:gd name="connsiteX43" fmla="*/ 9304658 w 9767847"/>
                <a:gd name="connsiteY43" fmla="*/ 4270914 h 6858000"/>
                <a:gd name="connsiteX44" fmla="*/ 9312810 w 9767847"/>
                <a:gd name="connsiteY44" fmla="*/ 4220043 h 6858000"/>
                <a:gd name="connsiteX45" fmla="*/ 9316887 w 9767847"/>
                <a:gd name="connsiteY45" fmla="*/ 4194584 h 6858000"/>
                <a:gd name="connsiteX46" fmla="*/ 9318923 w 9767847"/>
                <a:gd name="connsiteY46" fmla="*/ 4181878 h 6858000"/>
                <a:gd name="connsiteX47" fmla="*/ 9320515 w 9767847"/>
                <a:gd name="connsiteY47" fmla="*/ 4168984 h 6858000"/>
                <a:gd name="connsiteX48" fmla="*/ 9332445 w 9767847"/>
                <a:gd name="connsiteY48" fmla="*/ 4069079 h 6858000"/>
                <a:gd name="connsiteX49" fmla="*/ 9336173 w 9767847"/>
                <a:gd name="connsiteY49" fmla="*/ 4022774 h 6858000"/>
                <a:gd name="connsiteX50" fmla="*/ 9340199 w 9767847"/>
                <a:gd name="connsiteY50" fmla="*/ 3969269 h 6858000"/>
                <a:gd name="connsiteX51" fmla="*/ 9347557 w 9767847"/>
                <a:gd name="connsiteY51" fmla="*/ 3770070 h 6858000"/>
                <a:gd name="connsiteX52" fmla="*/ 9346364 w 9767847"/>
                <a:gd name="connsiteY52" fmla="*/ 3669036 h 6858000"/>
                <a:gd name="connsiteX53" fmla="*/ 9344921 w 9767847"/>
                <a:gd name="connsiteY53" fmla="*/ 3619341 h 6858000"/>
                <a:gd name="connsiteX54" fmla="*/ 9344524 w 9767847"/>
                <a:gd name="connsiteY54" fmla="*/ 3607624 h 6858000"/>
                <a:gd name="connsiteX55" fmla="*/ 9343728 w 9767847"/>
                <a:gd name="connsiteY55" fmla="*/ 3594872 h 6858000"/>
                <a:gd name="connsiteX56" fmla="*/ 9342188 w 9767847"/>
                <a:gd name="connsiteY56" fmla="*/ 3569366 h 6858000"/>
                <a:gd name="connsiteX57" fmla="*/ 9339056 w 9767847"/>
                <a:gd name="connsiteY57" fmla="*/ 3518354 h 6858000"/>
                <a:gd name="connsiteX58" fmla="*/ 9334334 w 9767847"/>
                <a:gd name="connsiteY58" fmla="*/ 3467155 h 6858000"/>
                <a:gd name="connsiteX59" fmla="*/ 9329363 w 9767847"/>
                <a:gd name="connsiteY59" fmla="*/ 3415908 h 6858000"/>
                <a:gd name="connsiteX60" fmla="*/ 9328319 w 9767847"/>
                <a:gd name="connsiteY60" fmla="*/ 3404755 h 6858000"/>
                <a:gd name="connsiteX61" fmla="*/ 9327177 w 9767847"/>
                <a:gd name="connsiteY61" fmla="*/ 3394214 h 6858000"/>
                <a:gd name="connsiteX62" fmla="*/ 9324293 w 9767847"/>
                <a:gd name="connsiteY62" fmla="*/ 3370872 h 6858000"/>
                <a:gd name="connsiteX63" fmla="*/ 9320763 w 9767847"/>
                <a:gd name="connsiteY63" fmla="*/ 3344427 h 6858000"/>
                <a:gd name="connsiteX64" fmla="*/ 9317184 w 9767847"/>
                <a:gd name="connsiteY64" fmla="*/ 3315343 h 6858000"/>
                <a:gd name="connsiteX65" fmla="*/ 9311021 w 9767847"/>
                <a:gd name="connsiteY65" fmla="*/ 3270309 h 6858000"/>
                <a:gd name="connsiteX66" fmla="*/ 9302719 w 9767847"/>
                <a:gd name="connsiteY66" fmla="*/ 3219815 h 6858000"/>
                <a:gd name="connsiteX67" fmla="*/ 9293970 w 9767847"/>
                <a:gd name="connsiteY67" fmla="*/ 3169887 h 6858000"/>
                <a:gd name="connsiteX68" fmla="*/ 9252065 w 9767847"/>
                <a:gd name="connsiteY68" fmla="*/ 2971205 h 6858000"/>
                <a:gd name="connsiteX69" fmla="*/ 9227211 w 9767847"/>
                <a:gd name="connsiteY69" fmla="*/ 2872571 h 6858000"/>
                <a:gd name="connsiteX70" fmla="*/ 9220699 w 9767847"/>
                <a:gd name="connsiteY70" fmla="*/ 2848524 h 6858000"/>
                <a:gd name="connsiteX71" fmla="*/ 9213740 w 9767847"/>
                <a:gd name="connsiteY71" fmla="*/ 2824289 h 6858000"/>
                <a:gd name="connsiteX72" fmla="*/ 9199374 w 9767847"/>
                <a:gd name="connsiteY72" fmla="*/ 2775536 h 6858000"/>
                <a:gd name="connsiteX73" fmla="*/ 9061829 w 9767847"/>
                <a:gd name="connsiteY73" fmla="*/ 2389515 h 6858000"/>
                <a:gd name="connsiteX74" fmla="*/ 8978865 w 9767847"/>
                <a:gd name="connsiteY74" fmla="*/ 2200953 h 6858000"/>
                <a:gd name="connsiteX75" fmla="*/ 8956694 w 9767847"/>
                <a:gd name="connsiteY75" fmla="*/ 2154317 h 6858000"/>
                <a:gd name="connsiteX76" fmla="*/ 8934176 w 9767847"/>
                <a:gd name="connsiteY76" fmla="*/ 2108012 h 6858000"/>
                <a:gd name="connsiteX77" fmla="*/ 8887151 w 9767847"/>
                <a:gd name="connsiteY77" fmla="*/ 2015448 h 6858000"/>
                <a:gd name="connsiteX78" fmla="*/ 8787533 w 9767847"/>
                <a:gd name="connsiteY78" fmla="*/ 1832625 h 6858000"/>
                <a:gd name="connsiteX79" fmla="*/ 8761485 w 9767847"/>
                <a:gd name="connsiteY79" fmla="*/ 1787496 h 6858000"/>
                <a:gd name="connsiteX80" fmla="*/ 8734791 w 9767847"/>
                <a:gd name="connsiteY80" fmla="*/ 1741991 h 6858000"/>
                <a:gd name="connsiteX81" fmla="*/ 8680808 w 9767847"/>
                <a:gd name="connsiteY81" fmla="*/ 1652910 h 6858000"/>
                <a:gd name="connsiteX82" fmla="*/ 8567024 w 9767847"/>
                <a:gd name="connsiteY82" fmla="*/ 1477004 h 6858000"/>
                <a:gd name="connsiteX83" fmla="*/ 8537446 w 9767847"/>
                <a:gd name="connsiteY83" fmla="*/ 1433428 h 6858000"/>
                <a:gd name="connsiteX84" fmla="*/ 8507423 w 9767847"/>
                <a:gd name="connsiteY84" fmla="*/ 1389994 h 6858000"/>
                <a:gd name="connsiteX85" fmla="*/ 8446529 w 9767847"/>
                <a:gd name="connsiteY85" fmla="*/ 1304393 h 6858000"/>
                <a:gd name="connsiteX86" fmla="*/ 8319224 w 9767847"/>
                <a:gd name="connsiteY86" fmla="*/ 1135124 h 6858000"/>
                <a:gd name="connsiteX87" fmla="*/ 8286366 w 9767847"/>
                <a:gd name="connsiteY87" fmla="*/ 1093148 h 6858000"/>
                <a:gd name="connsiteX88" fmla="*/ 8270161 w 9767847"/>
                <a:gd name="connsiteY88" fmla="*/ 1072538 h 6858000"/>
                <a:gd name="connsiteX89" fmla="*/ 8253856 w 9767847"/>
                <a:gd name="connsiteY89" fmla="*/ 1052254 h 6858000"/>
                <a:gd name="connsiteX90" fmla="*/ 8186352 w 9767847"/>
                <a:gd name="connsiteY90" fmla="*/ 970373 h 6858000"/>
                <a:gd name="connsiteX91" fmla="*/ 8046768 w 9767847"/>
                <a:gd name="connsiteY91" fmla="*/ 809527 h 6858000"/>
                <a:gd name="connsiteX92" fmla="*/ 8010927 w 9767847"/>
                <a:gd name="connsiteY92" fmla="*/ 769951 h 6858000"/>
                <a:gd name="connsiteX93" fmla="*/ 7974788 w 9767847"/>
                <a:gd name="connsiteY93" fmla="*/ 730751 h 6858000"/>
                <a:gd name="connsiteX94" fmla="*/ 7901070 w 9767847"/>
                <a:gd name="connsiteY94" fmla="*/ 652823 h 6858000"/>
                <a:gd name="connsiteX95" fmla="*/ 7750054 w 9767847"/>
                <a:gd name="connsiteY95" fmla="*/ 501106 h 6858000"/>
                <a:gd name="connsiteX96" fmla="*/ 7592277 w 9767847"/>
                <a:gd name="connsiteY96" fmla="*/ 355319 h 6858000"/>
                <a:gd name="connsiteX97" fmla="*/ 7257734 w 9767847"/>
                <a:gd name="connsiteY97" fmla="*/ 81062 h 6858000"/>
                <a:gd name="connsiteX98" fmla="*/ 1892109 w 9767847"/>
                <a:gd name="connsiteY98" fmla="*/ 0 h 6858000"/>
                <a:gd name="connsiteX99" fmla="*/ 2298402 w 9767847"/>
                <a:gd name="connsiteY99" fmla="*/ 0 h 6858000"/>
                <a:gd name="connsiteX100" fmla="*/ 2135542 w 9767847"/>
                <a:gd name="connsiteY100" fmla="*/ 121879 h 6858000"/>
                <a:gd name="connsiteX101" fmla="*/ 1969576 w 9767847"/>
                <a:gd name="connsiteY101" fmla="*/ 259084 h 6858000"/>
                <a:gd name="connsiteX102" fmla="*/ 1659938 w 9767847"/>
                <a:gd name="connsiteY102" fmla="*/ 553953 h 6858000"/>
                <a:gd name="connsiteX103" fmla="*/ 729383 w 9767847"/>
                <a:gd name="connsiteY103" fmla="*/ 1940578 h 6858000"/>
                <a:gd name="connsiteX104" fmla="*/ 578465 w 9767847"/>
                <a:gd name="connsiteY104" fmla="*/ 2324905 h 6858000"/>
                <a:gd name="connsiteX105" fmla="*/ 465080 w 9767847"/>
                <a:gd name="connsiteY105" fmla="*/ 2718973 h 6858000"/>
                <a:gd name="connsiteX106" fmla="*/ 423820 w 9767847"/>
                <a:gd name="connsiteY106" fmla="*/ 2919535 h 6858000"/>
                <a:gd name="connsiteX107" fmla="*/ 392355 w 9767847"/>
                <a:gd name="connsiteY107" fmla="*/ 3122169 h 6858000"/>
                <a:gd name="connsiteX108" fmla="*/ 358801 w 9767847"/>
                <a:gd name="connsiteY108" fmla="*/ 3531013 h 6858000"/>
                <a:gd name="connsiteX109" fmla="*/ 410350 w 9767847"/>
                <a:gd name="connsiteY109" fmla="*/ 4352324 h 6858000"/>
                <a:gd name="connsiteX110" fmla="*/ 449022 w 9767847"/>
                <a:gd name="connsiteY110" fmla="*/ 4555147 h 6858000"/>
                <a:gd name="connsiteX111" fmla="*/ 498882 w 9767847"/>
                <a:gd name="connsiteY111" fmla="*/ 4756463 h 6858000"/>
                <a:gd name="connsiteX112" fmla="*/ 559775 w 9767847"/>
                <a:gd name="connsiteY112" fmla="*/ 4955755 h 6858000"/>
                <a:gd name="connsiteX113" fmla="*/ 631406 w 9767847"/>
                <a:gd name="connsiteY113" fmla="*/ 5152084 h 6858000"/>
                <a:gd name="connsiteX114" fmla="*/ 1023461 w 9767847"/>
                <a:gd name="connsiteY114" fmla="*/ 5898055 h 6858000"/>
                <a:gd name="connsiteX115" fmla="*/ 1575880 w 9767847"/>
                <a:gd name="connsiteY115" fmla="*/ 6551744 h 6858000"/>
                <a:gd name="connsiteX116" fmla="*/ 1905228 w 9767847"/>
                <a:gd name="connsiteY116" fmla="*/ 6833566 h 6858000"/>
                <a:gd name="connsiteX117" fmla="*/ 1938629 w 9767847"/>
                <a:gd name="connsiteY117" fmla="*/ 6858000 h 6858000"/>
                <a:gd name="connsiteX118" fmla="*/ 1368607 w 9767847"/>
                <a:gd name="connsiteY118" fmla="*/ 6858000 h 6858000"/>
                <a:gd name="connsiteX119" fmla="*/ 1115251 w 9767847"/>
                <a:gd name="connsiteY119" fmla="*/ 6594103 h 6858000"/>
                <a:gd name="connsiteX120" fmla="*/ 0 w 9767847"/>
                <a:gd name="connsiteY120" fmla="*/ 3653129 h 6858000"/>
                <a:gd name="connsiteX121" fmla="*/ 1777294 w 9767847"/>
                <a:gd name="connsiteY121" fmla="*/ 85415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9767847" h="6858000">
                  <a:moveTo>
                    <a:pt x="7145704" y="0"/>
                  </a:moveTo>
                  <a:lnTo>
                    <a:pt x="7875738" y="0"/>
                  </a:lnTo>
                  <a:lnTo>
                    <a:pt x="7990553" y="85415"/>
                  </a:lnTo>
                  <a:cubicBezTo>
                    <a:pt x="9075991" y="933432"/>
                    <a:pt x="9767847" y="2216793"/>
                    <a:pt x="9767847" y="3653129"/>
                  </a:cubicBezTo>
                  <a:cubicBezTo>
                    <a:pt x="9767847" y="4770280"/>
                    <a:pt x="9349317" y="5794890"/>
                    <a:pt x="8652597" y="6594103"/>
                  </a:cubicBezTo>
                  <a:lnTo>
                    <a:pt x="8399240" y="6858000"/>
                  </a:lnTo>
                  <a:lnTo>
                    <a:pt x="6766926" y="6858000"/>
                  </a:lnTo>
                  <a:lnTo>
                    <a:pt x="6804586" y="6821201"/>
                  </a:lnTo>
                  <a:lnTo>
                    <a:pt x="6881735" y="6745295"/>
                  </a:lnTo>
                  <a:cubicBezTo>
                    <a:pt x="6907435" y="6719979"/>
                    <a:pt x="6933134" y="6694896"/>
                    <a:pt x="6958883" y="6668920"/>
                  </a:cubicBezTo>
                  <a:lnTo>
                    <a:pt x="7267925" y="6359792"/>
                  </a:lnTo>
                  <a:lnTo>
                    <a:pt x="7424360" y="6204783"/>
                  </a:lnTo>
                  <a:cubicBezTo>
                    <a:pt x="7450754" y="6178900"/>
                    <a:pt x="7477598" y="6152829"/>
                    <a:pt x="7504938" y="6126806"/>
                  </a:cubicBezTo>
                  <a:lnTo>
                    <a:pt x="7546396" y="6087795"/>
                  </a:lnTo>
                  <a:cubicBezTo>
                    <a:pt x="7560264" y="6074901"/>
                    <a:pt x="7574780" y="6061630"/>
                    <a:pt x="7588002" y="6049630"/>
                  </a:cubicBezTo>
                  <a:lnTo>
                    <a:pt x="7631000" y="6010807"/>
                  </a:lnTo>
                  <a:lnTo>
                    <a:pt x="7675440" y="5972407"/>
                  </a:lnTo>
                  <a:cubicBezTo>
                    <a:pt x="7690404" y="5959796"/>
                    <a:pt x="7705564" y="5947419"/>
                    <a:pt x="7720626" y="5934949"/>
                  </a:cubicBezTo>
                  <a:cubicBezTo>
                    <a:pt x="7735738" y="5922525"/>
                    <a:pt x="7751197" y="5910619"/>
                    <a:pt x="7766458" y="5898432"/>
                  </a:cubicBezTo>
                  <a:cubicBezTo>
                    <a:pt x="7827949" y="5850290"/>
                    <a:pt x="7890979" y="5804597"/>
                    <a:pt x="7955254" y="5760926"/>
                  </a:cubicBezTo>
                  <a:cubicBezTo>
                    <a:pt x="8083800" y="5673632"/>
                    <a:pt x="8216872" y="5594434"/>
                    <a:pt x="8352678" y="5521728"/>
                  </a:cubicBezTo>
                  <a:lnTo>
                    <a:pt x="8451350" y="5469352"/>
                  </a:lnTo>
                  <a:lnTo>
                    <a:pt x="8548532" y="5417493"/>
                  </a:lnTo>
                  <a:cubicBezTo>
                    <a:pt x="8612110" y="5383188"/>
                    <a:pt x="8673251" y="5349306"/>
                    <a:pt x="8729473" y="5314059"/>
                  </a:cubicBezTo>
                  <a:cubicBezTo>
                    <a:pt x="8743591" y="5305213"/>
                    <a:pt x="8757161" y="5296459"/>
                    <a:pt x="8770781" y="5287330"/>
                  </a:cubicBezTo>
                  <a:cubicBezTo>
                    <a:pt x="8777591" y="5282765"/>
                    <a:pt x="8784451" y="5278201"/>
                    <a:pt x="8790964" y="5273590"/>
                  </a:cubicBezTo>
                  <a:cubicBezTo>
                    <a:pt x="8797574" y="5268977"/>
                    <a:pt x="8804235" y="5264412"/>
                    <a:pt x="8810499" y="5259801"/>
                  </a:cubicBezTo>
                  <a:cubicBezTo>
                    <a:pt x="8835999" y="5241401"/>
                    <a:pt x="8860407" y="5222389"/>
                    <a:pt x="8883571" y="5202577"/>
                  </a:cubicBezTo>
                  <a:cubicBezTo>
                    <a:pt x="8929900" y="5162954"/>
                    <a:pt x="8971258" y="5120413"/>
                    <a:pt x="9006651" y="5074625"/>
                  </a:cubicBezTo>
                  <a:cubicBezTo>
                    <a:pt x="9015351" y="5063426"/>
                    <a:pt x="9024398" y="5050955"/>
                    <a:pt x="9033494" y="5038203"/>
                  </a:cubicBezTo>
                  <a:lnTo>
                    <a:pt x="9040305" y="5028649"/>
                  </a:lnTo>
                  <a:lnTo>
                    <a:pt x="9046568" y="5019379"/>
                  </a:lnTo>
                  <a:cubicBezTo>
                    <a:pt x="9050743" y="5013261"/>
                    <a:pt x="9054819" y="5007050"/>
                    <a:pt x="9058846" y="5000743"/>
                  </a:cubicBezTo>
                  <a:cubicBezTo>
                    <a:pt x="9075002" y="4975615"/>
                    <a:pt x="9090212" y="4949403"/>
                    <a:pt x="9104529" y="4922203"/>
                  </a:cubicBezTo>
                  <a:cubicBezTo>
                    <a:pt x="9133211" y="4867850"/>
                    <a:pt x="9158313" y="4809545"/>
                    <a:pt x="9181081" y="4748792"/>
                  </a:cubicBezTo>
                  <a:cubicBezTo>
                    <a:pt x="9203748" y="4688276"/>
                    <a:pt x="9223383" y="4625876"/>
                    <a:pt x="9240731" y="4561970"/>
                  </a:cubicBezTo>
                  <a:cubicBezTo>
                    <a:pt x="9249481" y="4530064"/>
                    <a:pt x="9257682" y="4497782"/>
                    <a:pt x="9265388" y="4465171"/>
                  </a:cubicBezTo>
                  <a:cubicBezTo>
                    <a:pt x="9269215" y="4448842"/>
                    <a:pt x="9272943" y="4432465"/>
                    <a:pt x="9276571" y="4416041"/>
                  </a:cubicBezTo>
                  <a:lnTo>
                    <a:pt x="9281841" y="4391477"/>
                  </a:lnTo>
                  <a:lnTo>
                    <a:pt x="9286513" y="4368936"/>
                  </a:lnTo>
                  <a:lnTo>
                    <a:pt x="9296754" y="4316136"/>
                  </a:lnTo>
                  <a:lnTo>
                    <a:pt x="9301029" y="4293172"/>
                  </a:lnTo>
                  <a:lnTo>
                    <a:pt x="9302818" y="4282679"/>
                  </a:lnTo>
                  <a:lnTo>
                    <a:pt x="9304658" y="4270914"/>
                  </a:lnTo>
                  <a:lnTo>
                    <a:pt x="9312810" y="4220043"/>
                  </a:lnTo>
                  <a:lnTo>
                    <a:pt x="9316887" y="4194584"/>
                  </a:lnTo>
                  <a:lnTo>
                    <a:pt x="9318923" y="4181878"/>
                  </a:lnTo>
                  <a:cubicBezTo>
                    <a:pt x="9319570" y="4177644"/>
                    <a:pt x="9319969" y="4173267"/>
                    <a:pt x="9320515" y="4168984"/>
                  </a:cubicBezTo>
                  <a:lnTo>
                    <a:pt x="9332445" y="4069079"/>
                  </a:lnTo>
                  <a:cubicBezTo>
                    <a:pt x="9333836" y="4056468"/>
                    <a:pt x="9334880" y="4040986"/>
                    <a:pt x="9336173" y="4022774"/>
                  </a:cubicBezTo>
                  <a:lnTo>
                    <a:pt x="9340199" y="3969269"/>
                  </a:lnTo>
                  <a:cubicBezTo>
                    <a:pt x="9345071" y="3903904"/>
                    <a:pt x="9347358" y="3837081"/>
                    <a:pt x="9347557" y="3770070"/>
                  </a:cubicBezTo>
                  <a:cubicBezTo>
                    <a:pt x="9347656" y="3736518"/>
                    <a:pt x="9347209" y="3702871"/>
                    <a:pt x="9346364" y="3669036"/>
                  </a:cubicBezTo>
                  <a:lnTo>
                    <a:pt x="9344921" y="3619341"/>
                  </a:lnTo>
                  <a:lnTo>
                    <a:pt x="9344524" y="3607624"/>
                  </a:lnTo>
                  <a:lnTo>
                    <a:pt x="9343728" y="3594872"/>
                  </a:lnTo>
                  <a:lnTo>
                    <a:pt x="9342188" y="3569366"/>
                  </a:lnTo>
                  <a:lnTo>
                    <a:pt x="9339056" y="3518354"/>
                  </a:lnTo>
                  <a:cubicBezTo>
                    <a:pt x="9337914" y="3501319"/>
                    <a:pt x="9335874" y="3484236"/>
                    <a:pt x="9334334" y="3467155"/>
                  </a:cubicBezTo>
                  <a:lnTo>
                    <a:pt x="9329363" y="3415908"/>
                  </a:lnTo>
                  <a:lnTo>
                    <a:pt x="9328319" y="3404755"/>
                  </a:lnTo>
                  <a:lnTo>
                    <a:pt x="9327177" y="3394214"/>
                  </a:lnTo>
                  <a:lnTo>
                    <a:pt x="9324293" y="3370872"/>
                  </a:lnTo>
                  <a:lnTo>
                    <a:pt x="9320763" y="3344427"/>
                  </a:lnTo>
                  <a:lnTo>
                    <a:pt x="9317184" y="3315343"/>
                  </a:lnTo>
                  <a:cubicBezTo>
                    <a:pt x="9315594" y="3300991"/>
                    <a:pt x="9313506" y="3286404"/>
                    <a:pt x="9311021" y="3270309"/>
                  </a:cubicBezTo>
                  <a:lnTo>
                    <a:pt x="9302719" y="3219815"/>
                  </a:lnTo>
                  <a:cubicBezTo>
                    <a:pt x="9299936" y="3203157"/>
                    <a:pt x="9297003" y="3186498"/>
                    <a:pt x="9293970" y="3169887"/>
                  </a:cubicBezTo>
                  <a:cubicBezTo>
                    <a:pt x="9281891" y="3103393"/>
                    <a:pt x="9267674" y="3037182"/>
                    <a:pt x="9252065" y="2971205"/>
                  </a:cubicBezTo>
                  <a:cubicBezTo>
                    <a:pt x="9244261" y="2938265"/>
                    <a:pt x="9235959" y="2905371"/>
                    <a:pt x="9227211" y="2872571"/>
                  </a:cubicBezTo>
                  <a:lnTo>
                    <a:pt x="9220699" y="2848524"/>
                  </a:lnTo>
                  <a:lnTo>
                    <a:pt x="9213740" y="2824289"/>
                  </a:lnTo>
                  <a:cubicBezTo>
                    <a:pt x="9209216" y="2808147"/>
                    <a:pt x="9204345" y="2791866"/>
                    <a:pt x="9199374" y="2775536"/>
                  </a:cubicBezTo>
                  <a:cubicBezTo>
                    <a:pt x="9159855" y="2645184"/>
                    <a:pt x="9114272" y="2516197"/>
                    <a:pt x="9061829" y="2389515"/>
                  </a:cubicBezTo>
                  <a:cubicBezTo>
                    <a:pt x="9035582" y="2326175"/>
                    <a:pt x="9008043" y="2263258"/>
                    <a:pt x="8978865" y="2200953"/>
                  </a:cubicBezTo>
                  <a:lnTo>
                    <a:pt x="8956694" y="2154317"/>
                  </a:lnTo>
                  <a:lnTo>
                    <a:pt x="8934176" y="2108012"/>
                  </a:lnTo>
                  <a:cubicBezTo>
                    <a:pt x="8918915" y="2077189"/>
                    <a:pt x="8903157" y="2046130"/>
                    <a:pt x="8887151" y="2015448"/>
                  </a:cubicBezTo>
                  <a:cubicBezTo>
                    <a:pt x="8854988" y="1953989"/>
                    <a:pt x="8822082" y="1892908"/>
                    <a:pt x="8787533" y="1832625"/>
                  </a:cubicBezTo>
                  <a:lnTo>
                    <a:pt x="8761485" y="1787496"/>
                  </a:lnTo>
                  <a:lnTo>
                    <a:pt x="8734791" y="1741991"/>
                  </a:lnTo>
                  <a:cubicBezTo>
                    <a:pt x="8717047" y="1711921"/>
                    <a:pt x="8699200" y="1682461"/>
                    <a:pt x="8680808" y="1652910"/>
                  </a:cubicBezTo>
                  <a:cubicBezTo>
                    <a:pt x="8644322" y="1593756"/>
                    <a:pt x="8606194" y="1535216"/>
                    <a:pt x="8567024" y="1477004"/>
                  </a:cubicBezTo>
                  <a:lnTo>
                    <a:pt x="8537446" y="1433428"/>
                  </a:lnTo>
                  <a:lnTo>
                    <a:pt x="8507423" y="1389994"/>
                  </a:lnTo>
                  <a:cubicBezTo>
                    <a:pt x="8487390" y="1361382"/>
                    <a:pt x="8467158" y="1332817"/>
                    <a:pt x="8446529" y="1304393"/>
                  </a:cubicBezTo>
                  <a:cubicBezTo>
                    <a:pt x="8405271" y="1247595"/>
                    <a:pt x="8362718" y="1191218"/>
                    <a:pt x="8319224" y="1135124"/>
                  </a:cubicBezTo>
                  <a:lnTo>
                    <a:pt x="8286366" y="1093148"/>
                  </a:lnTo>
                  <a:lnTo>
                    <a:pt x="8270161" y="1072538"/>
                  </a:lnTo>
                  <a:lnTo>
                    <a:pt x="8253856" y="1052254"/>
                  </a:lnTo>
                  <a:cubicBezTo>
                    <a:pt x="8231636" y="1024773"/>
                    <a:pt x="8209117" y="997479"/>
                    <a:pt x="8186352" y="970373"/>
                  </a:cubicBezTo>
                  <a:cubicBezTo>
                    <a:pt x="8140917" y="916020"/>
                    <a:pt x="8094240" y="862515"/>
                    <a:pt x="8046768" y="809527"/>
                  </a:cubicBezTo>
                  <a:lnTo>
                    <a:pt x="8010927" y="769951"/>
                  </a:lnTo>
                  <a:lnTo>
                    <a:pt x="7974788" y="730751"/>
                  </a:lnTo>
                  <a:cubicBezTo>
                    <a:pt x="7950382" y="704587"/>
                    <a:pt x="7925824" y="678563"/>
                    <a:pt x="7901070" y="652823"/>
                  </a:cubicBezTo>
                  <a:cubicBezTo>
                    <a:pt x="7851510" y="601387"/>
                    <a:pt x="7801404" y="550612"/>
                    <a:pt x="7750054" y="501106"/>
                  </a:cubicBezTo>
                  <a:cubicBezTo>
                    <a:pt x="7698902" y="451742"/>
                    <a:pt x="7645913" y="403036"/>
                    <a:pt x="7592277" y="355319"/>
                  </a:cubicBezTo>
                  <a:cubicBezTo>
                    <a:pt x="7484856" y="259884"/>
                    <a:pt x="7373308" y="168402"/>
                    <a:pt x="7257734" y="81062"/>
                  </a:cubicBezTo>
                  <a:close/>
                  <a:moveTo>
                    <a:pt x="1892109" y="0"/>
                  </a:moveTo>
                  <a:lnTo>
                    <a:pt x="2298402" y="0"/>
                  </a:lnTo>
                  <a:lnTo>
                    <a:pt x="2135542" y="121879"/>
                  </a:lnTo>
                  <a:cubicBezTo>
                    <a:pt x="2078998" y="166378"/>
                    <a:pt x="2023659" y="212143"/>
                    <a:pt x="1969576" y="259084"/>
                  </a:cubicBezTo>
                  <a:cubicBezTo>
                    <a:pt x="1861309" y="352918"/>
                    <a:pt x="1758064" y="451412"/>
                    <a:pt x="1659938" y="553953"/>
                  </a:cubicBezTo>
                  <a:cubicBezTo>
                    <a:pt x="1266987" y="964444"/>
                    <a:pt x="953820" y="1435593"/>
                    <a:pt x="729383" y="1940578"/>
                  </a:cubicBezTo>
                  <a:cubicBezTo>
                    <a:pt x="673260" y="2066459"/>
                    <a:pt x="622855" y="2195070"/>
                    <a:pt x="578465" y="2324905"/>
                  </a:cubicBezTo>
                  <a:cubicBezTo>
                    <a:pt x="534125" y="2454785"/>
                    <a:pt x="496147" y="2586314"/>
                    <a:pt x="465080" y="2718973"/>
                  </a:cubicBezTo>
                  <a:cubicBezTo>
                    <a:pt x="449769" y="2785089"/>
                    <a:pt x="435850" y="2852289"/>
                    <a:pt x="423820" y="2919535"/>
                  </a:cubicBezTo>
                  <a:cubicBezTo>
                    <a:pt x="411840" y="2986829"/>
                    <a:pt x="401054" y="3054358"/>
                    <a:pt x="392355" y="3122169"/>
                  </a:cubicBezTo>
                  <a:cubicBezTo>
                    <a:pt x="374509" y="3257744"/>
                    <a:pt x="363424" y="3393978"/>
                    <a:pt x="358801" y="3531013"/>
                  </a:cubicBezTo>
                  <a:cubicBezTo>
                    <a:pt x="349009" y="3804941"/>
                    <a:pt x="366357" y="4079668"/>
                    <a:pt x="410350" y="4352324"/>
                  </a:cubicBezTo>
                  <a:cubicBezTo>
                    <a:pt x="421286" y="4420230"/>
                    <a:pt x="434209" y="4487758"/>
                    <a:pt x="449022" y="4555147"/>
                  </a:cubicBezTo>
                  <a:cubicBezTo>
                    <a:pt x="463737" y="4622534"/>
                    <a:pt x="480389" y="4689686"/>
                    <a:pt x="498882" y="4756463"/>
                  </a:cubicBezTo>
                  <a:cubicBezTo>
                    <a:pt x="517373" y="4823239"/>
                    <a:pt x="537704" y="4889733"/>
                    <a:pt x="559775" y="4955755"/>
                  </a:cubicBezTo>
                  <a:cubicBezTo>
                    <a:pt x="581946" y="5021873"/>
                    <a:pt x="605358" y="5087473"/>
                    <a:pt x="631406" y="5152084"/>
                  </a:cubicBezTo>
                  <a:cubicBezTo>
                    <a:pt x="734055" y="5411706"/>
                    <a:pt x="865188" y="5662668"/>
                    <a:pt x="1023461" y="5898055"/>
                  </a:cubicBezTo>
                  <a:cubicBezTo>
                    <a:pt x="1181487" y="6133676"/>
                    <a:pt x="1367051" y="6353345"/>
                    <a:pt x="1575880" y="6551744"/>
                  </a:cubicBezTo>
                  <a:cubicBezTo>
                    <a:pt x="1680269" y="6651014"/>
                    <a:pt x="1790338" y="6745037"/>
                    <a:pt x="1905228" y="6833566"/>
                  </a:cubicBezTo>
                  <a:lnTo>
                    <a:pt x="1938629" y="6858000"/>
                  </a:lnTo>
                  <a:lnTo>
                    <a:pt x="1368607" y="6858000"/>
                  </a:lnTo>
                  <a:lnTo>
                    <a:pt x="1115251" y="6594103"/>
                  </a:lnTo>
                  <a:cubicBezTo>
                    <a:pt x="418530" y="5794890"/>
                    <a:pt x="0" y="4770280"/>
                    <a:pt x="0" y="3653129"/>
                  </a:cubicBezTo>
                  <a:cubicBezTo>
                    <a:pt x="0" y="2216793"/>
                    <a:pt x="691856" y="933432"/>
                    <a:pt x="1777294" y="8541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schemeClr val="lt1"/>
                </a:solidFill>
              </a:endParaRPr>
            </a:p>
          </p:txBody>
        </p:sp>
      </p:grpSp>
      <p:pic>
        <p:nvPicPr>
          <p:cNvPr id="7" name="Picture 6" descr="Cartoon of hands clapping&#10;&#10;AI-generated content may be incorrect.">
            <a:extLst>
              <a:ext uri="{FF2B5EF4-FFF2-40B4-BE49-F238E27FC236}">
                <a16:creationId xmlns:a16="http://schemas.microsoft.com/office/drawing/2014/main" id="{118F7C4E-44F2-C230-30B0-34B080996415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8"/>
          <a:srcRect l="-13474" t="-7007" r="-30572" b="-10253"/>
          <a:stretch/>
        </p:blipFill>
        <p:spPr>
          <a:xfrm>
            <a:off x="4021073" y="312128"/>
            <a:ext cx="2950541" cy="2401846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" name="video-name">
            <a:hlinkClick r:id="" action="ppaction://media"/>
            <a:extLst>
              <a:ext uri="{FF2B5EF4-FFF2-40B4-BE49-F238E27FC236}">
                <a16:creationId xmlns:a16="http://schemas.microsoft.com/office/drawing/2014/main" id="{5CA64B8C-C3E3-886E-B2E0-0AFBDD13A9B2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9"/>
          <a:srcRect l="28508" t="10911" r="31724" b="-1"/>
          <a:stretch/>
        </p:blipFill>
        <p:spPr>
          <a:xfrm>
            <a:off x="6860320" y="1099098"/>
            <a:ext cx="4457964" cy="561750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grpSp>
        <p:nvGrpSpPr>
          <p:cNvPr id="32" name="Group 31">
            <a:extLst>
              <a:ext uri="{FF2B5EF4-FFF2-40B4-BE49-F238E27FC236}">
                <a16:creationId xmlns:a16="http://schemas.microsoft.com/office/drawing/2014/main" id="{17147D5D-F01F-4164-BD81-D10DC6F23E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7142" y="2854"/>
            <a:ext cx="2783421" cy="2406445"/>
            <a:chOff x="-305" y="-4155"/>
            <a:chExt cx="2514948" cy="2174333"/>
          </a:xfrm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F24C7412-3E2D-4708-8DC3-425A457A101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14948" cy="2170178"/>
            </a:xfrm>
            <a:custGeom>
              <a:avLst/>
              <a:gdLst>
                <a:gd name="connsiteX0" fmla="*/ 2466091 w 2514948"/>
                <a:gd name="connsiteY0" fmla="*/ 0 h 2170178"/>
                <a:gd name="connsiteX1" fmla="*/ 2514948 w 2514948"/>
                <a:gd name="connsiteY1" fmla="*/ 0 h 2170178"/>
                <a:gd name="connsiteX2" fmla="*/ 2512286 w 2514948"/>
                <a:gd name="connsiteY2" fmla="*/ 12375 h 2170178"/>
                <a:gd name="connsiteX3" fmla="*/ 2394961 w 2514948"/>
                <a:gd name="connsiteY3" fmla="*/ 368660 h 2170178"/>
                <a:gd name="connsiteX4" fmla="*/ 2289734 w 2514948"/>
                <a:gd name="connsiteY4" fmla="*/ 598078 h 2170178"/>
                <a:gd name="connsiteX5" fmla="*/ 2163747 w 2514948"/>
                <a:gd name="connsiteY5" fmla="*/ 819078 h 2170178"/>
                <a:gd name="connsiteX6" fmla="*/ 1852241 w 2514948"/>
                <a:gd name="connsiteY6" fmla="*/ 1228932 h 2170178"/>
                <a:gd name="connsiteX7" fmla="*/ 1668235 w 2514948"/>
                <a:gd name="connsiteY7" fmla="*/ 1413844 h 2170178"/>
                <a:gd name="connsiteX8" fmla="*/ 1619510 w 2514948"/>
                <a:gd name="connsiteY8" fmla="*/ 1457722 h 2170178"/>
                <a:gd name="connsiteX9" fmla="*/ 1569835 w 2514948"/>
                <a:gd name="connsiteY9" fmla="*/ 1500704 h 2170178"/>
                <a:gd name="connsiteX10" fmla="*/ 1467169 w 2514948"/>
                <a:gd name="connsiteY10" fmla="*/ 1583266 h 2170178"/>
                <a:gd name="connsiteX11" fmla="*/ 1018393 w 2514948"/>
                <a:gd name="connsiteY11" fmla="*/ 1867576 h 2170178"/>
                <a:gd name="connsiteX12" fmla="*/ 255857 w 2514948"/>
                <a:gd name="connsiteY12" fmla="*/ 2133049 h 2170178"/>
                <a:gd name="connsiteX13" fmla="*/ 0 w 2514948"/>
                <a:gd name="connsiteY13" fmla="*/ 2170178 h 2170178"/>
                <a:gd name="connsiteX14" fmla="*/ 0 w 2514948"/>
                <a:gd name="connsiteY14" fmla="*/ 1940056 h 2170178"/>
                <a:gd name="connsiteX15" fmla="*/ 201609 w 2514948"/>
                <a:gd name="connsiteY15" fmla="*/ 1902856 h 2170178"/>
                <a:gd name="connsiteX16" fmla="*/ 440974 w 2514948"/>
                <a:gd name="connsiteY16" fmla="*/ 1838472 h 2170178"/>
                <a:gd name="connsiteX17" fmla="*/ 674558 w 2514948"/>
                <a:gd name="connsiteY17" fmla="*/ 1756359 h 2170178"/>
                <a:gd name="connsiteX18" fmla="*/ 901222 w 2514948"/>
                <a:gd name="connsiteY18" fmla="*/ 1657142 h 2170178"/>
                <a:gd name="connsiteX19" fmla="*/ 1330943 w 2514948"/>
                <a:gd name="connsiteY19" fmla="*/ 1413396 h 2170178"/>
                <a:gd name="connsiteX20" fmla="*/ 1432566 w 2514948"/>
                <a:gd name="connsiteY20" fmla="*/ 1343193 h 2170178"/>
                <a:gd name="connsiteX21" fmla="*/ 1482527 w 2514948"/>
                <a:gd name="connsiteY21" fmla="*/ 1306926 h 2170178"/>
                <a:gd name="connsiteX22" fmla="*/ 1531821 w 2514948"/>
                <a:gd name="connsiteY22" fmla="*/ 1269765 h 2170178"/>
                <a:gd name="connsiteX23" fmla="*/ 1721986 w 2514948"/>
                <a:gd name="connsiteY23" fmla="*/ 1112073 h 2170178"/>
                <a:gd name="connsiteX24" fmla="*/ 2061460 w 2514948"/>
                <a:gd name="connsiteY24" fmla="*/ 754336 h 2170178"/>
                <a:gd name="connsiteX25" fmla="*/ 2206218 w 2514948"/>
                <a:gd name="connsiteY25" fmla="*/ 554827 h 2170178"/>
                <a:gd name="connsiteX26" fmla="*/ 2329455 w 2514948"/>
                <a:gd name="connsiteY26" fmla="*/ 341886 h 2170178"/>
                <a:gd name="connsiteX27" fmla="*/ 2356757 w 2514948"/>
                <a:gd name="connsiteY27" fmla="*/ 286815 h 2170178"/>
                <a:gd name="connsiteX28" fmla="*/ 2370030 w 2514948"/>
                <a:gd name="connsiteY28" fmla="*/ 259056 h 2170178"/>
                <a:gd name="connsiteX29" fmla="*/ 2382637 w 2514948"/>
                <a:gd name="connsiteY29" fmla="*/ 231028 h 2170178"/>
                <a:gd name="connsiteX30" fmla="*/ 2406716 w 2514948"/>
                <a:gd name="connsiteY30" fmla="*/ 174525 h 2170178"/>
                <a:gd name="connsiteX31" fmla="*/ 2429278 w 2514948"/>
                <a:gd name="connsiteY31" fmla="*/ 117393 h 2170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514948" h="2170178">
                  <a:moveTo>
                    <a:pt x="2466091" y="0"/>
                  </a:moveTo>
                  <a:lnTo>
                    <a:pt x="2514948" y="0"/>
                  </a:lnTo>
                  <a:lnTo>
                    <a:pt x="2512286" y="12375"/>
                  </a:lnTo>
                  <a:cubicBezTo>
                    <a:pt x="2481760" y="133161"/>
                    <a:pt x="2442526" y="252239"/>
                    <a:pt x="2394961" y="368660"/>
                  </a:cubicBezTo>
                  <a:cubicBezTo>
                    <a:pt x="2363109" y="446208"/>
                    <a:pt x="2328603" y="523039"/>
                    <a:pt x="2289734" y="598078"/>
                  </a:cubicBezTo>
                  <a:cubicBezTo>
                    <a:pt x="2251436" y="673387"/>
                    <a:pt x="2209251" y="747083"/>
                    <a:pt x="2163747" y="819078"/>
                  </a:cubicBezTo>
                  <a:cubicBezTo>
                    <a:pt x="2072646" y="962979"/>
                    <a:pt x="1968652" y="1100611"/>
                    <a:pt x="1852241" y="1228932"/>
                  </a:cubicBezTo>
                  <a:cubicBezTo>
                    <a:pt x="1793748" y="1292868"/>
                    <a:pt x="1732698" y="1354923"/>
                    <a:pt x="1668235" y="1413844"/>
                  </a:cubicBezTo>
                  <a:cubicBezTo>
                    <a:pt x="1652214" y="1428709"/>
                    <a:pt x="1636100" y="1443395"/>
                    <a:pt x="1619510" y="1457722"/>
                  </a:cubicBezTo>
                  <a:cubicBezTo>
                    <a:pt x="1603015" y="1472140"/>
                    <a:pt x="1586805" y="1486825"/>
                    <a:pt x="1569835" y="1500704"/>
                  </a:cubicBezTo>
                  <a:cubicBezTo>
                    <a:pt x="1536276" y="1528911"/>
                    <a:pt x="1501865" y="1556223"/>
                    <a:pt x="1467169" y="1583266"/>
                  </a:cubicBezTo>
                  <a:cubicBezTo>
                    <a:pt x="1327719" y="1690722"/>
                    <a:pt x="1177085" y="1785910"/>
                    <a:pt x="1018393" y="1867576"/>
                  </a:cubicBezTo>
                  <a:cubicBezTo>
                    <a:pt x="780425" y="1990142"/>
                    <a:pt x="522567" y="2080875"/>
                    <a:pt x="255857" y="2133049"/>
                  </a:cubicBezTo>
                  <a:lnTo>
                    <a:pt x="0" y="2170178"/>
                  </a:lnTo>
                  <a:lnTo>
                    <a:pt x="0" y="1940056"/>
                  </a:lnTo>
                  <a:lnTo>
                    <a:pt x="201609" y="1902856"/>
                  </a:lnTo>
                  <a:cubicBezTo>
                    <a:pt x="282186" y="1884231"/>
                    <a:pt x="362102" y="1863008"/>
                    <a:pt x="440974" y="1838472"/>
                  </a:cubicBezTo>
                  <a:cubicBezTo>
                    <a:pt x="519848" y="1814027"/>
                    <a:pt x="597771" y="1786627"/>
                    <a:pt x="674558" y="1756359"/>
                  </a:cubicBezTo>
                  <a:cubicBezTo>
                    <a:pt x="751250" y="1726003"/>
                    <a:pt x="826900" y="1692870"/>
                    <a:pt x="901222" y="1657142"/>
                  </a:cubicBezTo>
                  <a:cubicBezTo>
                    <a:pt x="1049865" y="1585774"/>
                    <a:pt x="1193581" y="1504376"/>
                    <a:pt x="1330943" y="1413396"/>
                  </a:cubicBezTo>
                  <a:cubicBezTo>
                    <a:pt x="1365165" y="1390563"/>
                    <a:pt x="1399293" y="1367370"/>
                    <a:pt x="1432566" y="1343193"/>
                  </a:cubicBezTo>
                  <a:cubicBezTo>
                    <a:pt x="1449441" y="1331373"/>
                    <a:pt x="1465936" y="1319104"/>
                    <a:pt x="1482527" y="1306926"/>
                  </a:cubicBezTo>
                  <a:cubicBezTo>
                    <a:pt x="1499210" y="1294837"/>
                    <a:pt x="1515611" y="1282391"/>
                    <a:pt x="1531821" y="1269765"/>
                  </a:cubicBezTo>
                  <a:cubicBezTo>
                    <a:pt x="1596947" y="1219350"/>
                    <a:pt x="1660652" y="1167055"/>
                    <a:pt x="1721986" y="1112073"/>
                  </a:cubicBezTo>
                  <a:cubicBezTo>
                    <a:pt x="1844940" y="1002469"/>
                    <a:pt x="1958983" y="882926"/>
                    <a:pt x="2061460" y="754336"/>
                  </a:cubicBezTo>
                  <a:cubicBezTo>
                    <a:pt x="2112652" y="690042"/>
                    <a:pt x="2161094" y="623510"/>
                    <a:pt x="2206218" y="554827"/>
                  </a:cubicBezTo>
                  <a:cubicBezTo>
                    <a:pt x="2250583" y="485787"/>
                    <a:pt x="2292484" y="415046"/>
                    <a:pt x="2329455" y="341886"/>
                  </a:cubicBezTo>
                  <a:cubicBezTo>
                    <a:pt x="2339030" y="323709"/>
                    <a:pt x="2347941" y="305261"/>
                    <a:pt x="2356757" y="286815"/>
                  </a:cubicBezTo>
                  <a:lnTo>
                    <a:pt x="2370030" y="259056"/>
                  </a:lnTo>
                  <a:lnTo>
                    <a:pt x="2382637" y="231028"/>
                  </a:lnTo>
                  <a:cubicBezTo>
                    <a:pt x="2390885" y="212312"/>
                    <a:pt x="2399227" y="193598"/>
                    <a:pt x="2406716" y="174525"/>
                  </a:cubicBezTo>
                  <a:cubicBezTo>
                    <a:pt x="2414206" y="155452"/>
                    <a:pt x="2422453" y="136646"/>
                    <a:pt x="2429278" y="11739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71483A6A-CB0B-4469-B09D-C9451F9B079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-4155"/>
              <a:ext cx="2493062" cy="1947896"/>
            </a:xfrm>
            <a:custGeom>
              <a:avLst/>
              <a:gdLst>
                <a:gd name="connsiteX0" fmla="*/ 1896911 w 2493062"/>
                <a:gd name="connsiteY0" fmla="*/ 0 h 1947896"/>
                <a:gd name="connsiteX1" fmla="*/ 2493062 w 2493062"/>
                <a:gd name="connsiteY1" fmla="*/ 0 h 1947896"/>
                <a:gd name="connsiteX2" fmla="*/ 2435315 w 2493062"/>
                <a:gd name="connsiteY2" fmla="*/ 178165 h 1947896"/>
                <a:gd name="connsiteX3" fmla="*/ 93066 w 2493062"/>
                <a:gd name="connsiteY3" fmla="*/ 1935859 h 1947896"/>
                <a:gd name="connsiteX4" fmla="*/ 0 w 2493062"/>
                <a:gd name="connsiteY4" fmla="*/ 1947896 h 1947896"/>
                <a:gd name="connsiteX5" fmla="*/ 0 w 2493062"/>
                <a:gd name="connsiteY5" fmla="*/ 1404756 h 1947896"/>
                <a:gd name="connsiteX6" fmla="*/ 17392 w 2493062"/>
                <a:gd name="connsiteY6" fmla="*/ 1402364 h 1947896"/>
                <a:gd name="connsiteX7" fmla="*/ 464249 w 2493062"/>
                <a:gd name="connsiteY7" fmla="*/ 1281208 h 1947896"/>
                <a:gd name="connsiteX8" fmla="*/ 1260556 w 2493062"/>
                <a:gd name="connsiteY8" fmla="*/ 833835 h 1947896"/>
                <a:gd name="connsiteX9" fmla="*/ 1807924 w 2493062"/>
                <a:gd name="connsiteY9" fmla="*/ 193222 h 1947896"/>
                <a:gd name="connsiteX10" fmla="*/ 1874357 w 2493062"/>
                <a:gd name="connsiteY10" fmla="*/ 58333 h 1947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3062" h="1947896">
                  <a:moveTo>
                    <a:pt x="1896911" y="0"/>
                  </a:moveTo>
                  <a:lnTo>
                    <a:pt x="2493062" y="0"/>
                  </a:lnTo>
                  <a:lnTo>
                    <a:pt x="2435315" y="178165"/>
                  </a:lnTo>
                  <a:cubicBezTo>
                    <a:pt x="2088122" y="1071812"/>
                    <a:pt x="1129732" y="1758033"/>
                    <a:pt x="93066" y="1935859"/>
                  </a:cubicBezTo>
                  <a:lnTo>
                    <a:pt x="0" y="1947896"/>
                  </a:lnTo>
                  <a:lnTo>
                    <a:pt x="0" y="1404756"/>
                  </a:lnTo>
                  <a:lnTo>
                    <a:pt x="17392" y="1402364"/>
                  </a:lnTo>
                  <a:cubicBezTo>
                    <a:pt x="167719" y="1375030"/>
                    <a:pt x="318070" y="1334398"/>
                    <a:pt x="464249" y="1281208"/>
                  </a:cubicBezTo>
                  <a:cubicBezTo>
                    <a:pt x="753480" y="1176081"/>
                    <a:pt x="1028869" y="1021346"/>
                    <a:pt x="1260556" y="833835"/>
                  </a:cubicBezTo>
                  <a:cubicBezTo>
                    <a:pt x="1491960" y="646594"/>
                    <a:pt x="1681177" y="425056"/>
                    <a:pt x="1807924" y="193222"/>
                  </a:cubicBezTo>
                  <a:cubicBezTo>
                    <a:pt x="1832328" y="148578"/>
                    <a:pt x="1854477" y="103599"/>
                    <a:pt x="1874357" y="5833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9A935E9D-EB55-46F3-BCCB-9CB918E8705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01089" cy="1972702"/>
            </a:xfrm>
            <a:custGeom>
              <a:avLst/>
              <a:gdLst>
                <a:gd name="connsiteX0" fmla="*/ 2318728 w 2501089"/>
                <a:gd name="connsiteY0" fmla="*/ 0 h 1972702"/>
                <a:gd name="connsiteX1" fmla="*/ 2501089 w 2501089"/>
                <a:gd name="connsiteY1" fmla="*/ 0 h 1972702"/>
                <a:gd name="connsiteX2" fmla="*/ 2453909 w 2501089"/>
                <a:gd name="connsiteY2" fmla="*/ 167837 h 1972702"/>
                <a:gd name="connsiteX3" fmla="*/ 2361125 w 2501089"/>
                <a:gd name="connsiteY3" fmla="*/ 392084 h 1972702"/>
                <a:gd name="connsiteX4" fmla="*/ 1768255 w 2501089"/>
                <a:gd name="connsiteY4" fmla="*/ 1167644 h 1972702"/>
                <a:gd name="connsiteX5" fmla="*/ 1375125 w 2501089"/>
                <a:gd name="connsiteY5" fmla="*/ 1471474 h 1972702"/>
                <a:gd name="connsiteX6" fmla="*/ 935735 w 2501089"/>
                <a:gd name="connsiteY6" fmla="*/ 1712713 h 1972702"/>
                <a:gd name="connsiteX7" fmla="*/ 212353 w 2501089"/>
                <a:gd name="connsiteY7" fmla="*/ 1940294 h 1972702"/>
                <a:gd name="connsiteX8" fmla="*/ 0 w 2501089"/>
                <a:gd name="connsiteY8" fmla="*/ 1972702 h 1972702"/>
                <a:gd name="connsiteX9" fmla="*/ 0 w 2501089"/>
                <a:gd name="connsiteY9" fmla="*/ 1732181 h 1972702"/>
                <a:gd name="connsiteX10" fmla="*/ 161195 w 2501089"/>
                <a:gd name="connsiteY10" fmla="*/ 1706590 h 1972702"/>
                <a:gd name="connsiteX11" fmla="*/ 388463 w 2501089"/>
                <a:gd name="connsiteY11" fmla="*/ 1652268 h 1972702"/>
                <a:gd name="connsiteX12" fmla="*/ 826716 w 2501089"/>
                <a:gd name="connsiteY12" fmla="*/ 1493950 h 1972702"/>
                <a:gd name="connsiteX13" fmla="*/ 1609847 w 2501089"/>
                <a:gd name="connsiteY13" fmla="*/ 1007535 h 1972702"/>
                <a:gd name="connsiteX14" fmla="*/ 1929982 w 2501089"/>
                <a:gd name="connsiteY14" fmla="*/ 682930 h 1972702"/>
                <a:gd name="connsiteX15" fmla="*/ 2183093 w 2501089"/>
                <a:gd name="connsiteY15" fmla="*/ 310149 h 1972702"/>
                <a:gd name="connsiteX16" fmla="*/ 2280286 w 2501089"/>
                <a:gd name="connsiteY16" fmla="*/ 108435 h 1972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01089" h="1972702">
                  <a:moveTo>
                    <a:pt x="2318728" y="0"/>
                  </a:moveTo>
                  <a:lnTo>
                    <a:pt x="2501089" y="0"/>
                  </a:lnTo>
                  <a:lnTo>
                    <a:pt x="2453909" y="167837"/>
                  </a:lnTo>
                  <a:cubicBezTo>
                    <a:pt x="2427555" y="244153"/>
                    <a:pt x="2396627" y="319103"/>
                    <a:pt x="2361125" y="392084"/>
                  </a:cubicBezTo>
                  <a:cubicBezTo>
                    <a:pt x="2218453" y="684005"/>
                    <a:pt x="2011698" y="945211"/>
                    <a:pt x="1768255" y="1167644"/>
                  </a:cubicBezTo>
                  <a:cubicBezTo>
                    <a:pt x="1646250" y="1278860"/>
                    <a:pt x="1514385" y="1380316"/>
                    <a:pt x="1375125" y="1471474"/>
                  </a:cubicBezTo>
                  <a:cubicBezTo>
                    <a:pt x="1235677" y="1562542"/>
                    <a:pt x="1088928" y="1643672"/>
                    <a:pt x="935735" y="1712713"/>
                  </a:cubicBezTo>
                  <a:cubicBezTo>
                    <a:pt x="705659" y="1815533"/>
                    <a:pt x="462359" y="1892212"/>
                    <a:pt x="212353" y="1940294"/>
                  </a:cubicBezTo>
                  <a:lnTo>
                    <a:pt x="0" y="1972702"/>
                  </a:lnTo>
                  <a:lnTo>
                    <a:pt x="0" y="1732181"/>
                  </a:lnTo>
                  <a:lnTo>
                    <a:pt x="161195" y="1706590"/>
                  </a:lnTo>
                  <a:cubicBezTo>
                    <a:pt x="237638" y="1691378"/>
                    <a:pt x="313477" y="1673222"/>
                    <a:pt x="388463" y="1652268"/>
                  </a:cubicBezTo>
                  <a:cubicBezTo>
                    <a:pt x="538529" y="1610539"/>
                    <a:pt x="684898" y="1556543"/>
                    <a:pt x="826716" y="1493950"/>
                  </a:cubicBezTo>
                  <a:cubicBezTo>
                    <a:pt x="1111207" y="1370107"/>
                    <a:pt x="1376832" y="1205881"/>
                    <a:pt x="1609847" y="1007535"/>
                  </a:cubicBezTo>
                  <a:cubicBezTo>
                    <a:pt x="1725975" y="908049"/>
                    <a:pt x="1833571" y="799519"/>
                    <a:pt x="1929982" y="682930"/>
                  </a:cubicBezTo>
                  <a:cubicBezTo>
                    <a:pt x="2026581" y="566520"/>
                    <a:pt x="2111806" y="441692"/>
                    <a:pt x="2183093" y="310149"/>
                  </a:cubicBezTo>
                  <a:cubicBezTo>
                    <a:pt x="2218738" y="244422"/>
                    <a:pt x="2251396" y="177150"/>
                    <a:pt x="2280286" y="10843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8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8EDC5655-C7D7-4936-91EA-E188A96DC6C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1"/>
              <a:ext cx="2491105" cy="1943661"/>
            </a:xfrm>
            <a:custGeom>
              <a:avLst/>
              <a:gdLst>
                <a:gd name="connsiteX0" fmla="*/ 1995408 w 2491105"/>
                <a:gd name="connsiteY0" fmla="*/ 0 h 1943661"/>
                <a:gd name="connsiteX1" fmla="*/ 2491105 w 2491105"/>
                <a:gd name="connsiteY1" fmla="*/ 0 h 1943661"/>
                <a:gd name="connsiteX2" fmla="*/ 2434705 w 2491105"/>
                <a:gd name="connsiteY2" fmla="*/ 174009 h 1943661"/>
                <a:gd name="connsiteX3" fmla="*/ 92457 w 2491105"/>
                <a:gd name="connsiteY3" fmla="*/ 1931703 h 1943661"/>
                <a:gd name="connsiteX4" fmla="*/ 0 w 2491105"/>
                <a:gd name="connsiteY4" fmla="*/ 1943661 h 1943661"/>
                <a:gd name="connsiteX5" fmla="*/ 0 w 2491105"/>
                <a:gd name="connsiteY5" fmla="*/ 1491489 h 1943661"/>
                <a:gd name="connsiteX6" fmla="*/ 34107 w 2491105"/>
                <a:gd name="connsiteY6" fmla="*/ 1486836 h 1943661"/>
                <a:gd name="connsiteX7" fmla="*/ 497577 w 2491105"/>
                <a:gd name="connsiteY7" fmla="*/ 1360598 h 1943661"/>
                <a:gd name="connsiteX8" fmla="*/ 1321566 w 2491105"/>
                <a:gd name="connsiteY8" fmla="*/ 897645 h 1943661"/>
                <a:gd name="connsiteX9" fmla="*/ 1891495 w 2491105"/>
                <a:gd name="connsiteY9" fmla="*/ 230078 h 1943661"/>
                <a:gd name="connsiteX10" fmla="*/ 1961469 w 2491105"/>
                <a:gd name="connsiteY10" fmla="*/ 87885 h 1943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1105" h="1943661">
                  <a:moveTo>
                    <a:pt x="1995408" y="0"/>
                  </a:moveTo>
                  <a:lnTo>
                    <a:pt x="2491105" y="0"/>
                  </a:lnTo>
                  <a:lnTo>
                    <a:pt x="2434705" y="174009"/>
                  </a:lnTo>
                  <a:cubicBezTo>
                    <a:pt x="2087512" y="1067655"/>
                    <a:pt x="1129122" y="1753877"/>
                    <a:pt x="92457" y="1931703"/>
                  </a:cubicBezTo>
                  <a:lnTo>
                    <a:pt x="0" y="1943661"/>
                  </a:lnTo>
                  <a:lnTo>
                    <a:pt x="0" y="1491489"/>
                  </a:lnTo>
                  <a:lnTo>
                    <a:pt x="34107" y="1486836"/>
                  </a:lnTo>
                  <a:cubicBezTo>
                    <a:pt x="189055" y="1458696"/>
                    <a:pt x="343908" y="1416565"/>
                    <a:pt x="497577" y="1360598"/>
                  </a:cubicBezTo>
                  <a:cubicBezTo>
                    <a:pt x="796856" y="1251889"/>
                    <a:pt x="1081725" y="1091781"/>
                    <a:pt x="1321566" y="897645"/>
                  </a:cubicBezTo>
                  <a:cubicBezTo>
                    <a:pt x="1565577" y="700195"/>
                    <a:pt x="1757355" y="475523"/>
                    <a:pt x="1891495" y="230078"/>
                  </a:cubicBezTo>
                  <a:cubicBezTo>
                    <a:pt x="1917197" y="183033"/>
                    <a:pt x="1940526" y="135619"/>
                    <a:pt x="1961469" y="8788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6D0E248E-80AB-4B35-BA8D-F940FCB443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 rot="10800000">
            <a:off x="9417253" y="4456669"/>
            <a:ext cx="2783421" cy="2406445"/>
            <a:chOff x="-305" y="-4155"/>
            <a:chExt cx="2514948" cy="2174333"/>
          </a:xfrm>
        </p:grpSpPr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F9E91B0A-66E8-4298-BAC6-004DBE49197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14948" cy="2170178"/>
            </a:xfrm>
            <a:custGeom>
              <a:avLst/>
              <a:gdLst>
                <a:gd name="connsiteX0" fmla="*/ 2466091 w 2514948"/>
                <a:gd name="connsiteY0" fmla="*/ 0 h 2170178"/>
                <a:gd name="connsiteX1" fmla="*/ 2514948 w 2514948"/>
                <a:gd name="connsiteY1" fmla="*/ 0 h 2170178"/>
                <a:gd name="connsiteX2" fmla="*/ 2512286 w 2514948"/>
                <a:gd name="connsiteY2" fmla="*/ 12375 h 2170178"/>
                <a:gd name="connsiteX3" fmla="*/ 2394961 w 2514948"/>
                <a:gd name="connsiteY3" fmla="*/ 368660 h 2170178"/>
                <a:gd name="connsiteX4" fmla="*/ 2289734 w 2514948"/>
                <a:gd name="connsiteY4" fmla="*/ 598078 h 2170178"/>
                <a:gd name="connsiteX5" fmla="*/ 2163747 w 2514948"/>
                <a:gd name="connsiteY5" fmla="*/ 819078 h 2170178"/>
                <a:gd name="connsiteX6" fmla="*/ 1852241 w 2514948"/>
                <a:gd name="connsiteY6" fmla="*/ 1228932 h 2170178"/>
                <a:gd name="connsiteX7" fmla="*/ 1668235 w 2514948"/>
                <a:gd name="connsiteY7" fmla="*/ 1413844 h 2170178"/>
                <a:gd name="connsiteX8" fmla="*/ 1619510 w 2514948"/>
                <a:gd name="connsiteY8" fmla="*/ 1457722 h 2170178"/>
                <a:gd name="connsiteX9" fmla="*/ 1569835 w 2514948"/>
                <a:gd name="connsiteY9" fmla="*/ 1500704 h 2170178"/>
                <a:gd name="connsiteX10" fmla="*/ 1467169 w 2514948"/>
                <a:gd name="connsiteY10" fmla="*/ 1583266 h 2170178"/>
                <a:gd name="connsiteX11" fmla="*/ 1018393 w 2514948"/>
                <a:gd name="connsiteY11" fmla="*/ 1867576 h 2170178"/>
                <a:gd name="connsiteX12" fmla="*/ 255857 w 2514948"/>
                <a:gd name="connsiteY12" fmla="*/ 2133049 h 2170178"/>
                <a:gd name="connsiteX13" fmla="*/ 0 w 2514948"/>
                <a:gd name="connsiteY13" fmla="*/ 2170178 h 2170178"/>
                <a:gd name="connsiteX14" fmla="*/ 0 w 2514948"/>
                <a:gd name="connsiteY14" fmla="*/ 1940056 h 2170178"/>
                <a:gd name="connsiteX15" fmla="*/ 201609 w 2514948"/>
                <a:gd name="connsiteY15" fmla="*/ 1902856 h 2170178"/>
                <a:gd name="connsiteX16" fmla="*/ 440974 w 2514948"/>
                <a:gd name="connsiteY16" fmla="*/ 1838472 h 2170178"/>
                <a:gd name="connsiteX17" fmla="*/ 674558 w 2514948"/>
                <a:gd name="connsiteY17" fmla="*/ 1756359 h 2170178"/>
                <a:gd name="connsiteX18" fmla="*/ 901222 w 2514948"/>
                <a:gd name="connsiteY18" fmla="*/ 1657142 h 2170178"/>
                <a:gd name="connsiteX19" fmla="*/ 1330943 w 2514948"/>
                <a:gd name="connsiteY19" fmla="*/ 1413396 h 2170178"/>
                <a:gd name="connsiteX20" fmla="*/ 1432566 w 2514948"/>
                <a:gd name="connsiteY20" fmla="*/ 1343193 h 2170178"/>
                <a:gd name="connsiteX21" fmla="*/ 1482527 w 2514948"/>
                <a:gd name="connsiteY21" fmla="*/ 1306926 h 2170178"/>
                <a:gd name="connsiteX22" fmla="*/ 1531821 w 2514948"/>
                <a:gd name="connsiteY22" fmla="*/ 1269765 h 2170178"/>
                <a:gd name="connsiteX23" fmla="*/ 1721986 w 2514948"/>
                <a:gd name="connsiteY23" fmla="*/ 1112073 h 2170178"/>
                <a:gd name="connsiteX24" fmla="*/ 2061460 w 2514948"/>
                <a:gd name="connsiteY24" fmla="*/ 754336 h 2170178"/>
                <a:gd name="connsiteX25" fmla="*/ 2206218 w 2514948"/>
                <a:gd name="connsiteY25" fmla="*/ 554827 h 2170178"/>
                <a:gd name="connsiteX26" fmla="*/ 2329455 w 2514948"/>
                <a:gd name="connsiteY26" fmla="*/ 341886 h 2170178"/>
                <a:gd name="connsiteX27" fmla="*/ 2356757 w 2514948"/>
                <a:gd name="connsiteY27" fmla="*/ 286815 h 2170178"/>
                <a:gd name="connsiteX28" fmla="*/ 2370030 w 2514948"/>
                <a:gd name="connsiteY28" fmla="*/ 259056 h 2170178"/>
                <a:gd name="connsiteX29" fmla="*/ 2382637 w 2514948"/>
                <a:gd name="connsiteY29" fmla="*/ 231028 h 2170178"/>
                <a:gd name="connsiteX30" fmla="*/ 2406716 w 2514948"/>
                <a:gd name="connsiteY30" fmla="*/ 174525 h 2170178"/>
                <a:gd name="connsiteX31" fmla="*/ 2429278 w 2514948"/>
                <a:gd name="connsiteY31" fmla="*/ 117393 h 2170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514948" h="2170178">
                  <a:moveTo>
                    <a:pt x="2466091" y="0"/>
                  </a:moveTo>
                  <a:lnTo>
                    <a:pt x="2514948" y="0"/>
                  </a:lnTo>
                  <a:lnTo>
                    <a:pt x="2512286" y="12375"/>
                  </a:lnTo>
                  <a:cubicBezTo>
                    <a:pt x="2481760" y="133161"/>
                    <a:pt x="2442526" y="252239"/>
                    <a:pt x="2394961" y="368660"/>
                  </a:cubicBezTo>
                  <a:cubicBezTo>
                    <a:pt x="2363109" y="446208"/>
                    <a:pt x="2328603" y="523039"/>
                    <a:pt x="2289734" y="598078"/>
                  </a:cubicBezTo>
                  <a:cubicBezTo>
                    <a:pt x="2251436" y="673387"/>
                    <a:pt x="2209251" y="747083"/>
                    <a:pt x="2163747" y="819078"/>
                  </a:cubicBezTo>
                  <a:cubicBezTo>
                    <a:pt x="2072646" y="962979"/>
                    <a:pt x="1968652" y="1100611"/>
                    <a:pt x="1852241" y="1228932"/>
                  </a:cubicBezTo>
                  <a:cubicBezTo>
                    <a:pt x="1793748" y="1292868"/>
                    <a:pt x="1732698" y="1354923"/>
                    <a:pt x="1668235" y="1413844"/>
                  </a:cubicBezTo>
                  <a:cubicBezTo>
                    <a:pt x="1652214" y="1428709"/>
                    <a:pt x="1636100" y="1443395"/>
                    <a:pt x="1619510" y="1457722"/>
                  </a:cubicBezTo>
                  <a:cubicBezTo>
                    <a:pt x="1603015" y="1472140"/>
                    <a:pt x="1586805" y="1486825"/>
                    <a:pt x="1569835" y="1500704"/>
                  </a:cubicBezTo>
                  <a:cubicBezTo>
                    <a:pt x="1536276" y="1528911"/>
                    <a:pt x="1501865" y="1556223"/>
                    <a:pt x="1467169" y="1583266"/>
                  </a:cubicBezTo>
                  <a:cubicBezTo>
                    <a:pt x="1327719" y="1690722"/>
                    <a:pt x="1177085" y="1785910"/>
                    <a:pt x="1018393" y="1867576"/>
                  </a:cubicBezTo>
                  <a:cubicBezTo>
                    <a:pt x="780425" y="1990142"/>
                    <a:pt x="522567" y="2080875"/>
                    <a:pt x="255857" y="2133049"/>
                  </a:cubicBezTo>
                  <a:lnTo>
                    <a:pt x="0" y="2170178"/>
                  </a:lnTo>
                  <a:lnTo>
                    <a:pt x="0" y="1940056"/>
                  </a:lnTo>
                  <a:lnTo>
                    <a:pt x="201609" y="1902856"/>
                  </a:lnTo>
                  <a:cubicBezTo>
                    <a:pt x="282186" y="1884231"/>
                    <a:pt x="362102" y="1863008"/>
                    <a:pt x="440974" y="1838472"/>
                  </a:cubicBezTo>
                  <a:cubicBezTo>
                    <a:pt x="519848" y="1814027"/>
                    <a:pt x="597771" y="1786627"/>
                    <a:pt x="674558" y="1756359"/>
                  </a:cubicBezTo>
                  <a:cubicBezTo>
                    <a:pt x="751250" y="1726003"/>
                    <a:pt x="826900" y="1692870"/>
                    <a:pt x="901222" y="1657142"/>
                  </a:cubicBezTo>
                  <a:cubicBezTo>
                    <a:pt x="1049865" y="1585774"/>
                    <a:pt x="1193581" y="1504376"/>
                    <a:pt x="1330943" y="1413396"/>
                  </a:cubicBezTo>
                  <a:cubicBezTo>
                    <a:pt x="1365165" y="1390563"/>
                    <a:pt x="1399293" y="1367370"/>
                    <a:pt x="1432566" y="1343193"/>
                  </a:cubicBezTo>
                  <a:cubicBezTo>
                    <a:pt x="1449441" y="1331373"/>
                    <a:pt x="1465936" y="1319104"/>
                    <a:pt x="1482527" y="1306926"/>
                  </a:cubicBezTo>
                  <a:cubicBezTo>
                    <a:pt x="1499210" y="1294837"/>
                    <a:pt x="1515611" y="1282391"/>
                    <a:pt x="1531821" y="1269765"/>
                  </a:cubicBezTo>
                  <a:cubicBezTo>
                    <a:pt x="1596947" y="1219350"/>
                    <a:pt x="1660652" y="1167055"/>
                    <a:pt x="1721986" y="1112073"/>
                  </a:cubicBezTo>
                  <a:cubicBezTo>
                    <a:pt x="1844940" y="1002469"/>
                    <a:pt x="1958983" y="882926"/>
                    <a:pt x="2061460" y="754336"/>
                  </a:cubicBezTo>
                  <a:cubicBezTo>
                    <a:pt x="2112652" y="690042"/>
                    <a:pt x="2161094" y="623510"/>
                    <a:pt x="2206218" y="554827"/>
                  </a:cubicBezTo>
                  <a:cubicBezTo>
                    <a:pt x="2250583" y="485787"/>
                    <a:pt x="2292484" y="415046"/>
                    <a:pt x="2329455" y="341886"/>
                  </a:cubicBezTo>
                  <a:cubicBezTo>
                    <a:pt x="2339030" y="323709"/>
                    <a:pt x="2347941" y="305261"/>
                    <a:pt x="2356757" y="286815"/>
                  </a:cubicBezTo>
                  <a:lnTo>
                    <a:pt x="2370030" y="259056"/>
                  </a:lnTo>
                  <a:lnTo>
                    <a:pt x="2382637" y="231028"/>
                  </a:lnTo>
                  <a:cubicBezTo>
                    <a:pt x="2390885" y="212312"/>
                    <a:pt x="2399227" y="193598"/>
                    <a:pt x="2406716" y="174525"/>
                  </a:cubicBezTo>
                  <a:cubicBezTo>
                    <a:pt x="2414206" y="155452"/>
                    <a:pt x="2422453" y="136646"/>
                    <a:pt x="2429278" y="11739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0A629C66-36BD-487E-B1CD-ED026D77890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-4155"/>
              <a:ext cx="2493062" cy="1947896"/>
            </a:xfrm>
            <a:custGeom>
              <a:avLst/>
              <a:gdLst>
                <a:gd name="connsiteX0" fmla="*/ 1896911 w 2493062"/>
                <a:gd name="connsiteY0" fmla="*/ 0 h 1947896"/>
                <a:gd name="connsiteX1" fmla="*/ 2493062 w 2493062"/>
                <a:gd name="connsiteY1" fmla="*/ 0 h 1947896"/>
                <a:gd name="connsiteX2" fmla="*/ 2435315 w 2493062"/>
                <a:gd name="connsiteY2" fmla="*/ 178165 h 1947896"/>
                <a:gd name="connsiteX3" fmla="*/ 93066 w 2493062"/>
                <a:gd name="connsiteY3" fmla="*/ 1935859 h 1947896"/>
                <a:gd name="connsiteX4" fmla="*/ 0 w 2493062"/>
                <a:gd name="connsiteY4" fmla="*/ 1947896 h 1947896"/>
                <a:gd name="connsiteX5" fmla="*/ 0 w 2493062"/>
                <a:gd name="connsiteY5" fmla="*/ 1404756 h 1947896"/>
                <a:gd name="connsiteX6" fmla="*/ 17392 w 2493062"/>
                <a:gd name="connsiteY6" fmla="*/ 1402364 h 1947896"/>
                <a:gd name="connsiteX7" fmla="*/ 464249 w 2493062"/>
                <a:gd name="connsiteY7" fmla="*/ 1281208 h 1947896"/>
                <a:gd name="connsiteX8" fmla="*/ 1260556 w 2493062"/>
                <a:gd name="connsiteY8" fmla="*/ 833835 h 1947896"/>
                <a:gd name="connsiteX9" fmla="*/ 1807924 w 2493062"/>
                <a:gd name="connsiteY9" fmla="*/ 193222 h 1947896"/>
                <a:gd name="connsiteX10" fmla="*/ 1874357 w 2493062"/>
                <a:gd name="connsiteY10" fmla="*/ 58333 h 1947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3062" h="1947896">
                  <a:moveTo>
                    <a:pt x="1896911" y="0"/>
                  </a:moveTo>
                  <a:lnTo>
                    <a:pt x="2493062" y="0"/>
                  </a:lnTo>
                  <a:lnTo>
                    <a:pt x="2435315" y="178165"/>
                  </a:lnTo>
                  <a:cubicBezTo>
                    <a:pt x="2088122" y="1071812"/>
                    <a:pt x="1129732" y="1758033"/>
                    <a:pt x="93066" y="1935859"/>
                  </a:cubicBezTo>
                  <a:lnTo>
                    <a:pt x="0" y="1947896"/>
                  </a:lnTo>
                  <a:lnTo>
                    <a:pt x="0" y="1404756"/>
                  </a:lnTo>
                  <a:lnTo>
                    <a:pt x="17392" y="1402364"/>
                  </a:lnTo>
                  <a:cubicBezTo>
                    <a:pt x="167719" y="1375030"/>
                    <a:pt x="318070" y="1334398"/>
                    <a:pt x="464249" y="1281208"/>
                  </a:cubicBezTo>
                  <a:cubicBezTo>
                    <a:pt x="753480" y="1176081"/>
                    <a:pt x="1028869" y="1021346"/>
                    <a:pt x="1260556" y="833835"/>
                  </a:cubicBezTo>
                  <a:cubicBezTo>
                    <a:pt x="1491960" y="646594"/>
                    <a:pt x="1681177" y="425056"/>
                    <a:pt x="1807924" y="193222"/>
                  </a:cubicBezTo>
                  <a:cubicBezTo>
                    <a:pt x="1832328" y="148578"/>
                    <a:pt x="1854477" y="103599"/>
                    <a:pt x="1874357" y="5833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6BC2D2C-3D7D-4224-81BC-22C094C9FBE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01089" cy="1972702"/>
            </a:xfrm>
            <a:custGeom>
              <a:avLst/>
              <a:gdLst>
                <a:gd name="connsiteX0" fmla="*/ 2318728 w 2501089"/>
                <a:gd name="connsiteY0" fmla="*/ 0 h 1972702"/>
                <a:gd name="connsiteX1" fmla="*/ 2501089 w 2501089"/>
                <a:gd name="connsiteY1" fmla="*/ 0 h 1972702"/>
                <a:gd name="connsiteX2" fmla="*/ 2453909 w 2501089"/>
                <a:gd name="connsiteY2" fmla="*/ 167837 h 1972702"/>
                <a:gd name="connsiteX3" fmla="*/ 2361125 w 2501089"/>
                <a:gd name="connsiteY3" fmla="*/ 392084 h 1972702"/>
                <a:gd name="connsiteX4" fmla="*/ 1768255 w 2501089"/>
                <a:gd name="connsiteY4" fmla="*/ 1167644 h 1972702"/>
                <a:gd name="connsiteX5" fmla="*/ 1375125 w 2501089"/>
                <a:gd name="connsiteY5" fmla="*/ 1471474 h 1972702"/>
                <a:gd name="connsiteX6" fmla="*/ 935735 w 2501089"/>
                <a:gd name="connsiteY6" fmla="*/ 1712713 h 1972702"/>
                <a:gd name="connsiteX7" fmla="*/ 212353 w 2501089"/>
                <a:gd name="connsiteY7" fmla="*/ 1940294 h 1972702"/>
                <a:gd name="connsiteX8" fmla="*/ 0 w 2501089"/>
                <a:gd name="connsiteY8" fmla="*/ 1972702 h 1972702"/>
                <a:gd name="connsiteX9" fmla="*/ 0 w 2501089"/>
                <a:gd name="connsiteY9" fmla="*/ 1732181 h 1972702"/>
                <a:gd name="connsiteX10" fmla="*/ 161195 w 2501089"/>
                <a:gd name="connsiteY10" fmla="*/ 1706590 h 1972702"/>
                <a:gd name="connsiteX11" fmla="*/ 388463 w 2501089"/>
                <a:gd name="connsiteY11" fmla="*/ 1652268 h 1972702"/>
                <a:gd name="connsiteX12" fmla="*/ 826716 w 2501089"/>
                <a:gd name="connsiteY12" fmla="*/ 1493950 h 1972702"/>
                <a:gd name="connsiteX13" fmla="*/ 1609847 w 2501089"/>
                <a:gd name="connsiteY13" fmla="*/ 1007535 h 1972702"/>
                <a:gd name="connsiteX14" fmla="*/ 1929982 w 2501089"/>
                <a:gd name="connsiteY14" fmla="*/ 682930 h 1972702"/>
                <a:gd name="connsiteX15" fmla="*/ 2183093 w 2501089"/>
                <a:gd name="connsiteY15" fmla="*/ 310149 h 1972702"/>
                <a:gd name="connsiteX16" fmla="*/ 2280286 w 2501089"/>
                <a:gd name="connsiteY16" fmla="*/ 108435 h 1972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01089" h="1972702">
                  <a:moveTo>
                    <a:pt x="2318728" y="0"/>
                  </a:moveTo>
                  <a:lnTo>
                    <a:pt x="2501089" y="0"/>
                  </a:lnTo>
                  <a:lnTo>
                    <a:pt x="2453909" y="167837"/>
                  </a:lnTo>
                  <a:cubicBezTo>
                    <a:pt x="2427555" y="244153"/>
                    <a:pt x="2396627" y="319103"/>
                    <a:pt x="2361125" y="392084"/>
                  </a:cubicBezTo>
                  <a:cubicBezTo>
                    <a:pt x="2218453" y="684005"/>
                    <a:pt x="2011698" y="945211"/>
                    <a:pt x="1768255" y="1167644"/>
                  </a:cubicBezTo>
                  <a:cubicBezTo>
                    <a:pt x="1646250" y="1278860"/>
                    <a:pt x="1514385" y="1380316"/>
                    <a:pt x="1375125" y="1471474"/>
                  </a:cubicBezTo>
                  <a:cubicBezTo>
                    <a:pt x="1235677" y="1562542"/>
                    <a:pt x="1088928" y="1643672"/>
                    <a:pt x="935735" y="1712713"/>
                  </a:cubicBezTo>
                  <a:cubicBezTo>
                    <a:pt x="705659" y="1815533"/>
                    <a:pt x="462359" y="1892212"/>
                    <a:pt x="212353" y="1940294"/>
                  </a:cubicBezTo>
                  <a:lnTo>
                    <a:pt x="0" y="1972702"/>
                  </a:lnTo>
                  <a:lnTo>
                    <a:pt x="0" y="1732181"/>
                  </a:lnTo>
                  <a:lnTo>
                    <a:pt x="161195" y="1706590"/>
                  </a:lnTo>
                  <a:cubicBezTo>
                    <a:pt x="237638" y="1691378"/>
                    <a:pt x="313477" y="1673222"/>
                    <a:pt x="388463" y="1652268"/>
                  </a:cubicBezTo>
                  <a:cubicBezTo>
                    <a:pt x="538529" y="1610539"/>
                    <a:pt x="684898" y="1556543"/>
                    <a:pt x="826716" y="1493950"/>
                  </a:cubicBezTo>
                  <a:cubicBezTo>
                    <a:pt x="1111207" y="1370107"/>
                    <a:pt x="1376832" y="1205881"/>
                    <a:pt x="1609847" y="1007535"/>
                  </a:cubicBezTo>
                  <a:cubicBezTo>
                    <a:pt x="1725975" y="908049"/>
                    <a:pt x="1833571" y="799519"/>
                    <a:pt x="1929982" y="682930"/>
                  </a:cubicBezTo>
                  <a:cubicBezTo>
                    <a:pt x="2026581" y="566520"/>
                    <a:pt x="2111806" y="441692"/>
                    <a:pt x="2183093" y="310149"/>
                  </a:cubicBezTo>
                  <a:cubicBezTo>
                    <a:pt x="2218738" y="244422"/>
                    <a:pt x="2251396" y="177150"/>
                    <a:pt x="2280286" y="10843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8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53BDF903-22C5-4312-8776-C2ABC3EDC03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1"/>
              <a:ext cx="2491105" cy="1943661"/>
            </a:xfrm>
            <a:custGeom>
              <a:avLst/>
              <a:gdLst>
                <a:gd name="connsiteX0" fmla="*/ 1995408 w 2491105"/>
                <a:gd name="connsiteY0" fmla="*/ 0 h 1943661"/>
                <a:gd name="connsiteX1" fmla="*/ 2491105 w 2491105"/>
                <a:gd name="connsiteY1" fmla="*/ 0 h 1943661"/>
                <a:gd name="connsiteX2" fmla="*/ 2434705 w 2491105"/>
                <a:gd name="connsiteY2" fmla="*/ 174009 h 1943661"/>
                <a:gd name="connsiteX3" fmla="*/ 92457 w 2491105"/>
                <a:gd name="connsiteY3" fmla="*/ 1931703 h 1943661"/>
                <a:gd name="connsiteX4" fmla="*/ 0 w 2491105"/>
                <a:gd name="connsiteY4" fmla="*/ 1943661 h 1943661"/>
                <a:gd name="connsiteX5" fmla="*/ 0 w 2491105"/>
                <a:gd name="connsiteY5" fmla="*/ 1491489 h 1943661"/>
                <a:gd name="connsiteX6" fmla="*/ 34107 w 2491105"/>
                <a:gd name="connsiteY6" fmla="*/ 1486836 h 1943661"/>
                <a:gd name="connsiteX7" fmla="*/ 497577 w 2491105"/>
                <a:gd name="connsiteY7" fmla="*/ 1360598 h 1943661"/>
                <a:gd name="connsiteX8" fmla="*/ 1321566 w 2491105"/>
                <a:gd name="connsiteY8" fmla="*/ 897645 h 1943661"/>
                <a:gd name="connsiteX9" fmla="*/ 1891495 w 2491105"/>
                <a:gd name="connsiteY9" fmla="*/ 230078 h 1943661"/>
                <a:gd name="connsiteX10" fmla="*/ 1961469 w 2491105"/>
                <a:gd name="connsiteY10" fmla="*/ 87885 h 1943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1105" h="1943661">
                  <a:moveTo>
                    <a:pt x="1995408" y="0"/>
                  </a:moveTo>
                  <a:lnTo>
                    <a:pt x="2491105" y="0"/>
                  </a:lnTo>
                  <a:lnTo>
                    <a:pt x="2434705" y="174009"/>
                  </a:lnTo>
                  <a:cubicBezTo>
                    <a:pt x="2087512" y="1067655"/>
                    <a:pt x="1129122" y="1753877"/>
                    <a:pt x="92457" y="1931703"/>
                  </a:cubicBezTo>
                  <a:lnTo>
                    <a:pt x="0" y="1943661"/>
                  </a:lnTo>
                  <a:lnTo>
                    <a:pt x="0" y="1491489"/>
                  </a:lnTo>
                  <a:lnTo>
                    <a:pt x="34107" y="1486836"/>
                  </a:lnTo>
                  <a:cubicBezTo>
                    <a:pt x="189055" y="1458696"/>
                    <a:pt x="343908" y="1416565"/>
                    <a:pt x="497577" y="1360598"/>
                  </a:cubicBezTo>
                  <a:cubicBezTo>
                    <a:pt x="796856" y="1251889"/>
                    <a:pt x="1081725" y="1091781"/>
                    <a:pt x="1321566" y="897645"/>
                  </a:cubicBezTo>
                  <a:cubicBezTo>
                    <a:pt x="1565577" y="700195"/>
                    <a:pt x="1757355" y="475523"/>
                    <a:pt x="1891495" y="230078"/>
                  </a:cubicBezTo>
                  <a:cubicBezTo>
                    <a:pt x="1917197" y="183033"/>
                    <a:pt x="1940526" y="135619"/>
                    <a:pt x="1961469" y="8788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2" name="Recording">
            <a:hlinkClick r:id="" action="ppaction://media"/>
            <a:extLst>
              <a:ext uri="{FF2B5EF4-FFF2-40B4-BE49-F238E27FC236}">
                <a16:creationId xmlns:a16="http://schemas.microsoft.com/office/drawing/2014/main" id="{D846C4B2-39B6-F8F8-A499-1EFC04DE3C5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4">
                  <p14:trim st="2584" end="1232.6458"/>
                </p14:media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24748" y="7207799"/>
            <a:ext cx="531813" cy="531812"/>
          </a:xfrm>
          <a:prstGeom prst="rect">
            <a:avLst/>
          </a:prstGeom>
        </p:spPr>
      </p:pic>
      <p:pic>
        <p:nvPicPr>
          <p:cNvPr id="4" name="Applause  Sound Effect">
            <a:hlinkClick r:id="" action="ppaction://media"/>
            <a:extLst>
              <a:ext uri="{FF2B5EF4-FFF2-40B4-BE49-F238E27FC236}">
                <a16:creationId xmlns:a16="http://schemas.microsoft.com/office/drawing/2014/main" id="{F7878037-B753-1CA6-0356-C03467665403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979854" y="7207798"/>
            <a:ext cx="531813" cy="531813"/>
          </a:xfrm>
          <a:prstGeom prst="rect">
            <a:avLst/>
          </a:prstGeom>
        </p:spPr>
      </p:pic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3813791" y="2419788"/>
            <a:ext cx="4518875" cy="2561334"/>
          </a:xfrm>
          <a:prstGeom prst="rect">
            <a:avLst/>
          </a:prstGeom>
        </p:spPr>
        <p:txBody>
          <a:bodyPr rtlCol="1" anchor="ctr">
            <a:prstTxWarp prst="textCascadeUp">
              <a:avLst/>
            </a:prstTxWarp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600">
                <a:ln w="12700">
                  <a:solidFill>
                    <a:srgbClr val="002060"/>
                  </a:solidFill>
                </a:ln>
                <a:solidFill>
                  <a:srgbClr val="C48309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sz="2800" dirty="0">
                <a:solidFill>
                  <a:srgbClr val="C00000"/>
                </a:solidFill>
              </a:rPr>
              <a:t>תודה על ההקשבה</a:t>
            </a:r>
          </a:p>
          <a:p>
            <a:r>
              <a:rPr lang="he-IL" sz="2800" dirty="0">
                <a:solidFill>
                  <a:srgbClr val="C00000"/>
                </a:solidFill>
              </a:rPr>
              <a:t>הצוות</a:t>
            </a:r>
          </a:p>
        </p:txBody>
      </p:sp>
    </p:spTree>
    <p:extLst>
      <p:ext uri="{BB962C8B-B14F-4D97-AF65-F5344CB8AC3E}">
        <p14:creationId xmlns:p14="http://schemas.microsoft.com/office/powerpoint/2010/main" val="2208344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12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3" dur="400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14" presetID="1" presetClass="mediacall" presetSubtype="0" fill="hold" nodeType="withEffect">
                                  <p:stCondLst>
                                    <p:cond delay="3200"/>
                                  </p:stCondLst>
                                  <p:childTnLst>
                                    <p:cmd type="call" cmd="playFrom(0.0)">
                                      <p:cBhvr>
                                        <p:cTn id="15" dur="9430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16" presetID="1" presetClass="entr" presetSubtype="0" fill="hold" nodeType="withEffect">
                                  <p:stCondLst>
                                    <p:cond delay="32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2630"/>
                            </p:stCondLst>
                            <p:childTnLst>
                              <p:par>
                                <p:cTn id="19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21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  <p:audio>
              <p:cMediaNode vol="80000">
                <p:cTn id="22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  <p:video>
              <p:cMediaNode vol="80000">
                <p:cTn id="23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</p:childTnLst>
        </p:cTn>
      </p:par>
    </p:tnLst>
    <p:bldLst>
      <p:bldP spid="1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39000">
              <a:srgbClr val="F7F6F6"/>
            </a:gs>
            <a:gs pos="75000">
              <a:srgbClr val="BAD5F2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8" name="Rectangle 27">
            <a:extLst>
              <a:ext uri="{FF2B5EF4-FFF2-40B4-BE49-F238E27FC236}">
                <a16:creationId xmlns:a16="http://schemas.microsoft.com/office/drawing/2014/main" id="{A3363022-C969-41E9-8EB2-E4C94908C1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1"/>
            <a:ext cx="12191695" cy="68520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 hidden="1">
            <a:extLst>
              <a:ext uri="{FF2B5EF4-FFF2-40B4-BE49-F238E27FC236}">
                <a16:creationId xmlns:a16="http://schemas.microsoft.com/office/drawing/2014/main" id="{8D1AD6B3-BE88-4CEB-BA17-790657CC47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4489536" y="152400"/>
            <a:ext cx="3416214" cy="1297115"/>
          </a:xfrm>
          <a:prstGeom prst="rect">
            <a:avLst/>
          </a:prstGeom>
        </p:spPr>
        <p:txBody>
          <a:bodyPr rtlCol="1" anchor="ctr">
            <a:normAutofit/>
          </a:bodyPr>
          <a:lstStyle>
            <a:defPPr>
              <a:defRPr lang="he-IL"/>
            </a:defPPr>
            <a:lvl1pPr>
              <a:spcAft>
                <a:spcPts val="600"/>
              </a:spcAft>
              <a:defRPr sz="4000" b="1">
                <a:ln w="12700">
                  <a:solidFill>
                    <a:srgbClr val="002060"/>
                  </a:solidFill>
                </a:ln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spc="600" dirty="0">
                <a:solidFill>
                  <a:srgbClr val="99693D"/>
                </a:solidFill>
              </a:rPr>
              <a:t>תוכן המצגת </a:t>
            </a:r>
          </a:p>
        </p:txBody>
      </p:sp>
      <p:sp>
        <p:nvSpPr>
          <p:cNvPr id="23" name="תיבת טקסט 22">
            <a:extLst>
              <a:ext uri="{FF2B5EF4-FFF2-40B4-BE49-F238E27FC236}">
                <a16:creationId xmlns:a16="http://schemas.microsoft.com/office/drawing/2014/main" id="{F8978374-365E-A04E-8086-E3A87D716ECC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119639" y="2675125"/>
            <a:ext cx="3990890" cy="285462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>
              <a:lnSpc>
                <a:spcPct val="150000"/>
              </a:lnSpc>
              <a:spcAft>
                <a:spcPts val="600"/>
              </a:spcAft>
              <a:defRPr sz="2800" b="1">
                <a:solidFill>
                  <a:srgbClr val="FF0000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dirty="0">
                <a:ln/>
                <a:blipFill>
                  <a:blip r:embed="rId6"/>
                  <a:tile tx="0" ty="0" sx="100000" sy="100000" flip="none" algn="tl"/>
                </a:blipFill>
                <a:effectLst>
                  <a:outerShdw blurRad="38100" dist="19050" dir="2700000" algn="tl" rotWithShape="0">
                    <a:schemeClr val="dk1">
                      <a:lumMod val="50000"/>
                      <a:alpha val="40000"/>
                    </a:schemeClr>
                  </a:outerShdw>
                </a:effectLst>
              </a:rPr>
              <a:t>בדיקות שנבצע</a:t>
            </a:r>
          </a:p>
          <a:p>
            <a:r>
              <a:rPr lang="he-IL" dirty="0">
                <a:ln/>
                <a:blipFill>
                  <a:blip r:embed="rId6"/>
                  <a:tile tx="0" ty="0" sx="100000" sy="100000" flip="none" algn="tl"/>
                </a:blipFill>
                <a:effectLst>
                  <a:outerShdw blurRad="38100" dist="19050" dir="2700000" algn="tl" rotWithShape="0">
                    <a:schemeClr val="dk1">
                      <a:lumMod val="50000"/>
                      <a:alpha val="40000"/>
                    </a:schemeClr>
                  </a:outerShdw>
                </a:effectLst>
              </a:rPr>
              <a:t>בדיקות שלא נבצע</a:t>
            </a:r>
          </a:p>
          <a:p>
            <a:r>
              <a:rPr lang="he-IL" dirty="0">
                <a:ln/>
                <a:blipFill>
                  <a:blip r:embed="rId6"/>
                  <a:tile tx="0" ty="0" sx="100000" sy="100000" flip="none" algn="tl"/>
                </a:blipFill>
                <a:effectLst>
                  <a:outerShdw blurRad="38100" dist="19050" dir="2700000" algn="tl" rotWithShape="0">
                    <a:schemeClr val="dk1">
                      <a:lumMod val="50000"/>
                      <a:alpha val="40000"/>
                    </a:schemeClr>
                  </a:outerShdw>
                </a:effectLst>
              </a:rPr>
              <a:t>ממשקים פנימיים וחיצוניים</a:t>
            </a:r>
          </a:p>
          <a:p>
            <a:r>
              <a:rPr lang="he-IL" dirty="0">
                <a:ln/>
                <a:blipFill>
                  <a:blip r:embed="rId6"/>
                  <a:tile tx="0" ty="0" sx="100000" sy="100000" flip="none" algn="tl"/>
                </a:blipFill>
                <a:effectLst>
                  <a:outerShdw blurRad="38100" dist="19050" dir="2700000" algn="tl" rotWithShape="0">
                    <a:schemeClr val="dk1">
                      <a:lumMod val="50000"/>
                      <a:alpha val="40000"/>
                    </a:schemeClr>
                  </a:outerShdw>
                </a:effectLst>
              </a:rPr>
              <a:t>ניהול סיכונים</a:t>
            </a:r>
            <a:endParaRPr lang="en-US" dirty="0">
              <a:ln/>
              <a:blipFill>
                <a:blip r:embed="rId6"/>
                <a:tile tx="0" ty="0" sx="100000" sy="100000" flip="none" algn="tl"/>
              </a:blipFill>
              <a:effectLst>
                <a:outerShdw blurRad="38100" dist="19050" dir="2700000" algn="tl" rotWithShape="0">
                  <a:schemeClr val="dk1">
                    <a:lumMod val="50000"/>
                    <a:alpha val="40000"/>
                  </a:schemeClr>
                </a:outerShdw>
              </a:effectLst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89D1390B-7E13-4B4F-9CB2-391063412E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-4253" y="-5977"/>
            <a:ext cx="6238675" cy="6863979"/>
            <a:chOff x="305" y="-5977"/>
            <a:chExt cx="6238675" cy="6863979"/>
          </a:xfrm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9E720206-AA49-4786-A932-A2650DE0918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flipH="1">
              <a:off x="305" y="34854"/>
              <a:ext cx="6028697" cy="6817170"/>
            </a:xfrm>
            <a:custGeom>
              <a:avLst/>
              <a:gdLst>
                <a:gd name="connsiteX0" fmla="*/ 6028697 w 6028697"/>
                <a:gd name="connsiteY0" fmla="*/ 6155323 h 6817170"/>
                <a:gd name="connsiteX1" fmla="*/ 6028697 w 6028697"/>
                <a:gd name="connsiteY1" fmla="*/ 6817170 h 6817170"/>
                <a:gd name="connsiteX2" fmla="*/ 5157862 w 6028697"/>
                <a:gd name="connsiteY2" fmla="*/ 6817170 h 6817170"/>
                <a:gd name="connsiteX3" fmla="*/ 5347156 w 6028697"/>
                <a:gd name="connsiteY3" fmla="*/ 6687553 h 6817170"/>
                <a:gd name="connsiteX4" fmla="*/ 5487470 w 6028697"/>
                <a:gd name="connsiteY4" fmla="*/ 6581714 h 6817170"/>
                <a:gd name="connsiteX5" fmla="*/ 5627642 w 6028697"/>
                <a:gd name="connsiteY5" fmla="*/ 6472328 h 6817170"/>
                <a:gd name="connsiteX6" fmla="*/ 5911392 w 6028697"/>
                <a:gd name="connsiteY6" fmla="*/ 6245328 h 6817170"/>
                <a:gd name="connsiteX7" fmla="*/ 4481066 w 6028697"/>
                <a:gd name="connsiteY7" fmla="*/ 478 h 6817170"/>
                <a:gd name="connsiteX8" fmla="*/ 4672258 w 6028697"/>
                <a:gd name="connsiteY8" fmla="*/ 7519 h 6817170"/>
                <a:gd name="connsiteX9" fmla="*/ 5429869 w 6028697"/>
                <a:gd name="connsiteY9" fmla="*/ 125134 h 6817170"/>
                <a:gd name="connsiteX10" fmla="*/ 5976319 w 6028697"/>
                <a:gd name="connsiteY10" fmla="*/ 314893 h 6817170"/>
                <a:gd name="connsiteX11" fmla="*/ 6028697 w 6028697"/>
                <a:gd name="connsiteY11" fmla="*/ 339901 h 6817170"/>
                <a:gd name="connsiteX12" fmla="*/ 6028697 w 6028697"/>
                <a:gd name="connsiteY12" fmla="*/ 732458 h 6817170"/>
                <a:gd name="connsiteX13" fmla="*/ 5990985 w 6028697"/>
                <a:gd name="connsiteY13" fmla="*/ 712211 h 6817170"/>
                <a:gd name="connsiteX14" fmla="*/ 5341339 w 6028697"/>
                <a:gd name="connsiteY14" fmla="*/ 475281 h 6817170"/>
                <a:gd name="connsiteX15" fmla="*/ 4651969 w 6028697"/>
                <a:gd name="connsiteY15" fmla="*/ 377104 h 6817170"/>
                <a:gd name="connsiteX16" fmla="*/ 3953093 w 6028697"/>
                <a:gd name="connsiteY16" fmla="*/ 402498 h 6817170"/>
                <a:gd name="connsiteX17" fmla="*/ 3267413 w 6028697"/>
                <a:gd name="connsiteY17" fmla="*/ 546643 h 6817170"/>
                <a:gd name="connsiteX18" fmla="*/ 1439498 w 6028697"/>
                <a:gd name="connsiteY18" fmla="*/ 1568141 h 6817170"/>
                <a:gd name="connsiteX19" fmla="*/ 960671 w 6028697"/>
                <a:gd name="connsiteY19" fmla="*/ 2082013 h 6817170"/>
                <a:gd name="connsiteX20" fmla="*/ 581866 w 6028697"/>
                <a:gd name="connsiteY20" fmla="*/ 2672638 h 6817170"/>
                <a:gd name="connsiteX21" fmla="*/ 324789 w 6028697"/>
                <a:gd name="connsiteY21" fmla="*/ 3325262 h 6817170"/>
                <a:gd name="connsiteX22" fmla="*/ 231151 w 6028697"/>
                <a:gd name="connsiteY22" fmla="*/ 4022292 h 6817170"/>
                <a:gd name="connsiteX23" fmla="*/ 270592 w 6028697"/>
                <a:gd name="connsiteY23" fmla="*/ 4362792 h 6817170"/>
                <a:gd name="connsiteX24" fmla="*/ 387213 w 6028697"/>
                <a:gd name="connsiteY24" fmla="*/ 4681585 h 6817170"/>
                <a:gd name="connsiteX25" fmla="*/ 468507 w 6028697"/>
                <a:gd name="connsiteY25" fmla="*/ 4831546 h 6817170"/>
                <a:gd name="connsiteX26" fmla="*/ 561862 w 6028697"/>
                <a:gd name="connsiteY26" fmla="*/ 4976826 h 6817170"/>
                <a:gd name="connsiteX27" fmla="*/ 777511 w 6028697"/>
                <a:gd name="connsiteY27" fmla="*/ 5257597 h 6817170"/>
                <a:gd name="connsiteX28" fmla="*/ 1010895 w 6028697"/>
                <a:gd name="connsiteY28" fmla="*/ 5540494 h 6817170"/>
                <a:gd name="connsiteX29" fmla="*/ 1126948 w 6028697"/>
                <a:gd name="connsiteY29" fmla="*/ 5688186 h 6817170"/>
                <a:gd name="connsiteX30" fmla="*/ 1182706 w 6028697"/>
                <a:gd name="connsiteY30" fmla="*/ 5760543 h 6817170"/>
                <a:gd name="connsiteX31" fmla="*/ 1237327 w 6028697"/>
                <a:gd name="connsiteY31" fmla="*/ 5830060 h 6817170"/>
                <a:gd name="connsiteX32" fmla="*/ 1706649 w 6028697"/>
                <a:gd name="connsiteY32" fmla="*/ 6342797 h 6817170"/>
                <a:gd name="connsiteX33" fmla="*/ 1956207 w 6028697"/>
                <a:gd name="connsiteY33" fmla="*/ 6573484 h 6817170"/>
                <a:gd name="connsiteX34" fmla="*/ 2217681 w 6028697"/>
                <a:gd name="connsiteY34" fmla="*/ 6786297 h 6817170"/>
                <a:gd name="connsiteX35" fmla="*/ 2260820 w 6028697"/>
                <a:gd name="connsiteY35" fmla="*/ 6817170 h 6817170"/>
                <a:gd name="connsiteX36" fmla="*/ 1429497 w 6028697"/>
                <a:gd name="connsiteY36" fmla="*/ 6817170 h 6817170"/>
                <a:gd name="connsiteX37" fmla="*/ 1327275 w 6028697"/>
                <a:gd name="connsiteY37" fmla="*/ 6713800 h 6817170"/>
                <a:gd name="connsiteX38" fmla="*/ 1080556 w 6028697"/>
                <a:gd name="connsiteY38" fmla="*/ 6414443 h 6817170"/>
                <a:gd name="connsiteX39" fmla="*/ 865189 w 6028697"/>
                <a:gd name="connsiteY39" fmla="*/ 6097496 h 6817170"/>
                <a:gd name="connsiteX40" fmla="*/ 814823 w 6028697"/>
                <a:gd name="connsiteY40" fmla="*/ 6016911 h 6817170"/>
                <a:gd name="connsiteX41" fmla="*/ 766729 w 6028697"/>
                <a:gd name="connsiteY41" fmla="*/ 5938453 h 6817170"/>
                <a:gd name="connsiteX42" fmla="*/ 671672 w 6028697"/>
                <a:gd name="connsiteY42" fmla="*/ 5786648 h 6817170"/>
                <a:gd name="connsiteX43" fmla="*/ 474608 w 6028697"/>
                <a:gd name="connsiteY43" fmla="*/ 5474664 h 6817170"/>
                <a:gd name="connsiteX44" fmla="*/ 282652 w 6028697"/>
                <a:gd name="connsiteY44" fmla="*/ 5146508 h 6817170"/>
                <a:gd name="connsiteX45" fmla="*/ 196108 w 6028697"/>
                <a:gd name="connsiteY45" fmla="*/ 4972712 h 6817170"/>
                <a:gd name="connsiteX46" fmla="*/ 122474 w 6028697"/>
                <a:gd name="connsiteY46" fmla="*/ 4791821 h 6817170"/>
                <a:gd name="connsiteX47" fmla="*/ 65724 w 6028697"/>
                <a:gd name="connsiteY47" fmla="*/ 4603129 h 6817170"/>
                <a:gd name="connsiteX48" fmla="*/ 44727 w 6028697"/>
                <a:gd name="connsiteY48" fmla="*/ 4506937 h 6817170"/>
                <a:gd name="connsiteX49" fmla="*/ 35505 w 6028697"/>
                <a:gd name="connsiteY49" fmla="*/ 4458699 h 6817170"/>
                <a:gd name="connsiteX50" fmla="*/ 27845 w 6028697"/>
                <a:gd name="connsiteY50" fmla="*/ 4410320 h 6817170"/>
                <a:gd name="connsiteX51" fmla="*/ 37 w 6028697"/>
                <a:gd name="connsiteY51" fmla="*/ 4022292 h 6817170"/>
                <a:gd name="connsiteX52" fmla="*/ 78777 w 6028697"/>
                <a:gd name="connsiteY52" fmla="*/ 3267236 h 6817170"/>
                <a:gd name="connsiteX53" fmla="*/ 315424 w 6028697"/>
                <a:gd name="connsiteY53" fmla="*/ 2543673 h 6817170"/>
                <a:gd name="connsiteX54" fmla="*/ 1202710 w 6028697"/>
                <a:gd name="connsiteY54" fmla="*/ 1314895 h 6817170"/>
                <a:gd name="connsiteX55" fmla="*/ 1791065 w 6028697"/>
                <a:gd name="connsiteY55" fmla="*/ 833514 h 6817170"/>
                <a:gd name="connsiteX56" fmla="*/ 3908404 w 6028697"/>
                <a:gd name="connsiteY56" fmla="*/ 29794 h 6817170"/>
                <a:gd name="connsiteX57" fmla="*/ 4481066 w 6028697"/>
                <a:gd name="connsiteY57" fmla="*/ 478 h 6817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6028697" h="6817170">
                  <a:moveTo>
                    <a:pt x="6028697" y="6155323"/>
                  </a:moveTo>
                  <a:lnTo>
                    <a:pt x="6028697" y="6817170"/>
                  </a:lnTo>
                  <a:lnTo>
                    <a:pt x="5157862" y="6817170"/>
                  </a:lnTo>
                  <a:lnTo>
                    <a:pt x="5347156" y="6687553"/>
                  </a:lnTo>
                  <a:cubicBezTo>
                    <a:pt x="5394117" y="6653219"/>
                    <a:pt x="5440793" y="6617608"/>
                    <a:pt x="5487470" y="6581714"/>
                  </a:cubicBezTo>
                  <a:cubicBezTo>
                    <a:pt x="5534147" y="6545820"/>
                    <a:pt x="5580966" y="6509358"/>
                    <a:pt x="5627642" y="6472328"/>
                  </a:cubicBezTo>
                  <a:lnTo>
                    <a:pt x="5911392" y="6245328"/>
                  </a:lnTo>
                  <a:close/>
                  <a:moveTo>
                    <a:pt x="4481066" y="478"/>
                  </a:moveTo>
                  <a:cubicBezTo>
                    <a:pt x="4544817" y="1422"/>
                    <a:pt x="4608563" y="3769"/>
                    <a:pt x="4672258" y="7519"/>
                  </a:cubicBezTo>
                  <a:cubicBezTo>
                    <a:pt x="4927973" y="22364"/>
                    <a:pt x="5181687" y="61751"/>
                    <a:pt x="5429869" y="125134"/>
                  </a:cubicBezTo>
                  <a:cubicBezTo>
                    <a:pt x="5617090" y="173104"/>
                    <a:pt x="5799867" y="236595"/>
                    <a:pt x="5976319" y="314893"/>
                  </a:cubicBezTo>
                  <a:lnTo>
                    <a:pt x="6028697" y="339901"/>
                  </a:lnTo>
                  <a:lnTo>
                    <a:pt x="6028697" y="732458"/>
                  </a:lnTo>
                  <a:lnTo>
                    <a:pt x="5990985" y="712211"/>
                  </a:lnTo>
                  <a:cubicBezTo>
                    <a:pt x="5783917" y="609342"/>
                    <a:pt x="5566013" y="529876"/>
                    <a:pt x="5341339" y="475281"/>
                  </a:cubicBezTo>
                  <a:cubicBezTo>
                    <a:pt x="5115233" y="420503"/>
                    <a:pt x="4884375" y="387624"/>
                    <a:pt x="4651969" y="377104"/>
                  </a:cubicBezTo>
                  <a:cubicBezTo>
                    <a:pt x="4418713" y="365171"/>
                    <a:pt x="4184861" y="373670"/>
                    <a:pt x="3953093" y="402498"/>
                  </a:cubicBezTo>
                  <a:cubicBezTo>
                    <a:pt x="3721001" y="431832"/>
                    <a:pt x="3491675" y="480040"/>
                    <a:pt x="3267413" y="546643"/>
                  </a:cubicBezTo>
                  <a:cubicBezTo>
                    <a:pt x="2591323" y="750761"/>
                    <a:pt x="1967642" y="1099289"/>
                    <a:pt x="1439498" y="1568141"/>
                  </a:cubicBezTo>
                  <a:cubicBezTo>
                    <a:pt x="1265589" y="1725523"/>
                    <a:pt x="1105393" y="1897434"/>
                    <a:pt x="960671" y="2082013"/>
                  </a:cubicBezTo>
                  <a:cubicBezTo>
                    <a:pt x="815775" y="2266294"/>
                    <a:pt x="688923" y="2464081"/>
                    <a:pt x="581866" y="2672638"/>
                  </a:cubicBezTo>
                  <a:cubicBezTo>
                    <a:pt x="473765" y="2880669"/>
                    <a:pt x="387610" y="3099397"/>
                    <a:pt x="324789" y="3325262"/>
                  </a:cubicBezTo>
                  <a:cubicBezTo>
                    <a:pt x="262714" y="3552403"/>
                    <a:pt x="231223" y="3786822"/>
                    <a:pt x="231151" y="4022292"/>
                  </a:cubicBezTo>
                  <a:cubicBezTo>
                    <a:pt x="231413" y="4136912"/>
                    <a:pt x="244645" y="4251136"/>
                    <a:pt x="270592" y="4362792"/>
                  </a:cubicBezTo>
                  <a:cubicBezTo>
                    <a:pt x="297885" y="4472943"/>
                    <a:pt x="336983" y="4579833"/>
                    <a:pt x="387213" y="4681585"/>
                  </a:cubicBezTo>
                  <a:cubicBezTo>
                    <a:pt x="412042" y="4732517"/>
                    <a:pt x="439423" y="4782457"/>
                    <a:pt x="468507" y="4831546"/>
                  </a:cubicBezTo>
                  <a:cubicBezTo>
                    <a:pt x="497591" y="4880636"/>
                    <a:pt x="529230" y="4929015"/>
                    <a:pt x="561862" y="4976826"/>
                  </a:cubicBezTo>
                  <a:cubicBezTo>
                    <a:pt x="627975" y="5072166"/>
                    <a:pt x="701466" y="5164668"/>
                    <a:pt x="777511" y="5257597"/>
                  </a:cubicBezTo>
                  <a:cubicBezTo>
                    <a:pt x="853556" y="5350524"/>
                    <a:pt x="933574" y="5443594"/>
                    <a:pt x="1010895" y="5540494"/>
                  </a:cubicBezTo>
                  <a:cubicBezTo>
                    <a:pt x="1049957" y="5588732"/>
                    <a:pt x="1088642" y="5637963"/>
                    <a:pt x="1126948" y="5688186"/>
                  </a:cubicBezTo>
                  <a:lnTo>
                    <a:pt x="1182706" y="5760543"/>
                  </a:lnTo>
                  <a:cubicBezTo>
                    <a:pt x="1201007" y="5783669"/>
                    <a:pt x="1218458" y="5807503"/>
                    <a:pt x="1237327" y="5830060"/>
                  </a:cubicBezTo>
                  <a:cubicBezTo>
                    <a:pt x="1383714" y="6009916"/>
                    <a:pt x="1540413" y="6181116"/>
                    <a:pt x="1706649" y="6342797"/>
                  </a:cubicBezTo>
                  <a:cubicBezTo>
                    <a:pt x="1788084" y="6422531"/>
                    <a:pt x="1871265" y="6499427"/>
                    <a:pt x="1956207" y="6573484"/>
                  </a:cubicBezTo>
                  <a:cubicBezTo>
                    <a:pt x="2041332" y="6647402"/>
                    <a:pt x="2127733" y="6718907"/>
                    <a:pt x="2217681" y="6786297"/>
                  </a:cubicBezTo>
                  <a:lnTo>
                    <a:pt x="2260820" y="6817170"/>
                  </a:lnTo>
                  <a:lnTo>
                    <a:pt x="1429497" y="6817170"/>
                  </a:lnTo>
                  <a:lnTo>
                    <a:pt x="1327275" y="6713800"/>
                  </a:lnTo>
                  <a:cubicBezTo>
                    <a:pt x="1239186" y="6618984"/>
                    <a:pt x="1156797" y="6519019"/>
                    <a:pt x="1080556" y="6414443"/>
                  </a:cubicBezTo>
                  <a:cubicBezTo>
                    <a:pt x="1004653" y="6310734"/>
                    <a:pt x="932439" y="6205177"/>
                    <a:pt x="865189" y="6097496"/>
                  </a:cubicBezTo>
                  <a:cubicBezTo>
                    <a:pt x="847881" y="6070823"/>
                    <a:pt x="831565" y="6043725"/>
                    <a:pt x="814823" y="6016911"/>
                  </a:cubicBezTo>
                  <a:lnTo>
                    <a:pt x="766729" y="5938453"/>
                  </a:lnTo>
                  <a:cubicBezTo>
                    <a:pt x="735941" y="5887947"/>
                    <a:pt x="703878" y="5837581"/>
                    <a:pt x="671672" y="5786648"/>
                  </a:cubicBezTo>
                  <a:lnTo>
                    <a:pt x="474608" y="5474664"/>
                  </a:lnTo>
                  <a:cubicBezTo>
                    <a:pt x="408778" y="5368968"/>
                    <a:pt x="343516" y="5260008"/>
                    <a:pt x="282652" y="5146508"/>
                  </a:cubicBezTo>
                  <a:cubicBezTo>
                    <a:pt x="252290" y="5089759"/>
                    <a:pt x="223065" y="5032015"/>
                    <a:pt x="196108" y="4972712"/>
                  </a:cubicBezTo>
                  <a:cubicBezTo>
                    <a:pt x="169152" y="4913408"/>
                    <a:pt x="144607" y="4853111"/>
                    <a:pt x="122474" y="4791821"/>
                  </a:cubicBezTo>
                  <a:cubicBezTo>
                    <a:pt x="100342" y="4730532"/>
                    <a:pt x="81757" y="4666830"/>
                    <a:pt x="65724" y="4603129"/>
                  </a:cubicBezTo>
                  <a:cubicBezTo>
                    <a:pt x="58205" y="4571064"/>
                    <a:pt x="50828" y="4539143"/>
                    <a:pt x="44727" y="4506937"/>
                  </a:cubicBezTo>
                  <a:lnTo>
                    <a:pt x="35505" y="4458699"/>
                  </a:lnTo>
                  <a:lnTo>
                    <a:pt x="27845" y="4410320"/>
                  </a:lnTo>
                  <a:cubicBezTo>
                    <a:pt x="8635" y="4281881"/>
                    <a:pt x="-661" y="4152150"/>
                    <a:pt x="37" y="4022292"/>
                  </a:cubicBezTo>
                  <a:cubicBezTo>
                    <a:pt x="712" y="3768592"/>
                    <a:pt x="27094" y="3515615"/>
                    <a:pt x="78777" y="3267236"/>
                  </a:cubicBezTo>
                  <a:cubicBezTo>
                    <a:pt x="130048" y="3017876"/>
                    <a:pt x="209439" y="2775142"/>
                    <a:pt x="315424" y="2543673"/>
                  </a:cubicBezTo>
                  <a:cubicBezTo>
                    <a:pt x="528236" y="2081161"/>
                    <a:pt x="838234" y="1667312"/>
                    <a:pt x="1202710" y="1314895"/>
                  </a:cubicBezTo>
                  <a:cubicBezTo>
                    <a:pt x="1385514" y="1138814"/>
                    <a:pt x="1582282" y="977831"/>
                    <a:pt x="1791065" y="833514"/>
                  </a:cubicBezTo>
                  <a:cubicBezTo>
                    <a:pt x="2420037" y="395614"/>
                    <a:pt x="3147288" y="119557"/>
                    <a:pt x="3908404" y="29794"/>
                  </a:cubicBezTo>
                  <a:cubicBezTo>
                    <a:pt x="4098509" y="7429"/>
                    <a:pt x="4289811" y="-2355"/>
                    <a:pt x="4481066" y="478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C72F6EE6-EDE9-45A5-8F6D-02B9B7CB2C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flipH="1">
              <a:off x="305" y="1"/>
              <a:ext cx="6165116" cy="6858001"/>
            </a:xfrm>
            <a:custGeom>
              <a:avLst/>
              <a:gdLst>
                <a:gd name="connsiteX0" fmla="*/ 6264586 w 6264586"/>
                <a:gd name="connsiteY0" fmla="*/ 6646464 h 6858001"/>
                <a:gd name="connsiteX1" fmla="*/ 6264586 w 6264586"/>
                <a:gd name="connsiteY1" fmla="*/ 6858001 h 6858001"/>
                <a:gd name="connsiteX2" fmla="*/ 5997170 w 6264586"/>
                <a:gd name="connsiteY2" fmla="*/ 6858001 h 6858001"/>
                <a:gd name="connsiteX3" fmla="*/ 6121512 w 6264586"/>
                <a:gd name="connsiteY3" fmla="*/ 6761029 h 6858001"/>
                <a:gd name="connsiteX4" fmla="*/ 2693206 w 6264586"/>
                <a:gd name="connsiteY4" fmla="*/ 0 h 6858001"/>
                <a:gd name="connsiteX5" fmla="*/ 5872285 w 6264586"/>
                <a:gd name="connsiteY5" fmla="*/ 0 h 6858001"/>
                <a:gd name="connsiteX6" fmla="*/ 6024875 w 6264586"/>
                <a:gd name="connsiteY6" fmla="*/ 68385 h 6858001"/>
                <a:gd name="connsiteX7" fmla="*/ 6206432 w 6264586"/>
                <a:gd name="connsiteY7" fmla="*/ 162336 h 6858001"/>
                <a:gd name="connsiteX8" fmla="*/ 6264586 w 6264586"/>
                <a:gd name="connsiteY8" fmla="*/ 196704 h 6858001"/>
                <a:gd name="connsiteX9" fmla="*/ 6264586 w 6264586"/>
                <a:gd name="connsiteY9" fmla="*/ 537242 h 6858001"/>
                <a:gd name="connsiteX10" fmla="*/ 6230189 w 6264586"/>
                <a:gd name="connsiteY10" fmla="*/ 517260 h 6858001"/>
                <a:gd name="connsiteX11" fmla="*/ 5540536 w 6264586"/>
                <a:gd name="connsiteY11" fmla="*/ 249543 h 6858001"/>
                <a:gd name="connsiteX12" fmla="*/ 5178896 w 6264586"/>
                <a:gd name="connsiteY12" fmla="*/ 178606 h 6858001"/>
                <a:gd name="connsiteX13" fmla="*/ 4814279 w 6264586"/>
                <a:gd name="connsiteY13" fmla="*/ 146683 h 6858001"/>
                <a:gd name="connsiteX14" fmla="*/ 4655095 w 6264586"/>
                <a:gd name="connsiteY14" fmla="*/ 143421 h 6858001"/>
                <a:gd name="connsiteX15" fmla="*/ 4081069 w 6264586"/>
                <a:gd name="connsiteY15" fmla="*/ 185983 h 6858001"/>
                <a:gd name="connsiteX16" fmla="*/ 3720566 w 6264586"/>
                <a:gd name="connsiteY16" fmla="*/ 256921 h 6858001"/>
                <a:gd name="connsiteX17" fmla="*/ 3365879 w 6264586"/>
                <a:gd name="connsiteY17" fmla="*/ 357651 h 6858001"/>
                <a:gd name="connsiteX18" fmla="*/ 3020555 w 6264586"/>
                <a:gd name="connsiteY18" fmla="*/ 486190 h 6858001"/>
                <a:gd name="connsiteX19" fmla="*/ 2685163 w 6264586"/>
                <a:gd name="connsiteY19" fmla="*/ 641542 h 6858001"/>
                <a:gd name="connsiteX20" fmla="*/ 2047720 w 6264586"/>
                <a:gd name="connsiteY20" fmla="*/ 1025030 h 6858001"/>
                <a:gd name="connsiteX21" fmla="*/ 1897333 w 6264586"/>
                <a:gd name="connsiteY21" fmla="*/ 1134983 h 6858001"/>
                <a:gd name="connsiteX22" fmla="*/ 1835758 w 6264586"/>
                <a:gd name="connsiteY22" fmla="*/ 1182227 h 6858001"/>
                <a:gd name="connsiteX23" fmla="*/ 1823273 w 6264586"/>
                <a:gd name="connsiteY23" fmla="*/ 1192016 h 6858001"/>
                <a:gd name="connsiteX24" fmla="*/ 1750918 w 6264586"/>
                <a:gd name="connsiteY24" fmla="*/ 1249760 h 6858001"/>
                <a:gd name="connsiteX25" fmla="*/ 1469297 w 6264586"/>
                <a:gd name="connsiteY25" fmla="*/ 1496906 h 6858001"/>
                <a:gd name="connsiteX26" fmla="*/ 967769 w 6264586"/>
                <a:gd name="connsiteY26" fmla="*/ 2056602 h 6858001"/>
                <a:gd name="connsiteX27" fmla="*/ 754105 w 6264586"/>
                <a:gd name="connsiteY27" fmla="*/ 2368727 h 6858001"/>
                <a:gd name="connsiteX28" fmla="*/ 572364 w 6264586"/>
                <a:gd name="connsiteY28" fmla="*/ 2701140 h 6858001"/>
                <a:gd name="connsiteX29" fmla="*/ 532497 w 6264586"/>
                <a:gd name="connsiteY29" fmla="*/ 2786265 h 6858001"/>
                <a:gd name="connsiteX30" fmla="*/ 512918 w 6264586"/>
                <a:gd name="connsiteY30" fmla="*/ 2828827 h 6858001"/>
                <a:gd name="connsiteX31" fmla="*/ 494475 w 6264586"/>
                <a:gd name="connsiteY31" fmla="*/ 2872240 h 6858001"/>
                <a:gd name="connsiteX32" fmla="*/ 491637 w 6264586"/>
                <a:gd name="connsiteY32" fmla="*/ 2878908 h 6858001"/>
                <a:gd name="connsiteX33" fmla="*/ 459290 w 6264586"/>
                <a:gd name="connsiteY33" fmla="*/ 2959635 h 6858001"/>
                <a:gd name="connsiteX34" fmla="*/ 446805 w 6264586"/>
                <a:gd name="connsiteY34" fmla="*/ 2992408 h 6858001"/>
                <a:gd name="connsiteX35" fmla="*/ 426090 w 6264586"/>
                <a:gd name="connsiteY35" fmla="*/ 3049158 h 6858001"/>
                <a:gd name="connsiteX36" fmla="*/ 426090 w 6264586"/>
                <a:gd name="connsiteY36" fmla="*/ 3049867 h 6858001"/>
                <a:gd name="connsiteX37" fmla="*/ 318124 w 6264586"/>
                <a:gd name="connsiteY37" fmla="*/ 3414202 h 6858001"/>
                <a:gd name="connsiteX38" fmla="*/ 230729 w 6264586"/>
                <a:gd name="connsiteY38" fmla="*/ 4169260 h 6858001"/>
                <a:gd name="connsiteX39" fmla="*/ 268893 w 6264586"/>
                <a:gd name="connsiteY39" fmla="*/ 4544236 h 6858001"/>
                <a:gd name="connsiteX40" fmla="*/ 379840 w 6264586"/>
                <a:gd name="connsiteY40" fmla="*/ 4900056 h 6858001"/>
                <a:gd name="connsiteX41" fmla="*/ 406512 w 6264586"/>
                <a:gd name="connsiteY41" fmla="*/ 4960211 h 6858001"/>
                <a:gd name="connsiteX42" fmla="*/ 417862 w 6264586"/>
                <a:gd name="connsiteY42" fmla="*/ 4984613 h 6858001"/>
                <a:gd name="connsiteX43" fmla="*/ 428077 w 6264586"/>
                <a:gd name="connsiteY43" fmla="*/ 5005043 h 6858001"/>
                <a:gd name="connsiteX44" fmla="*/ 460140 w 6264586"/>
                <a:gd name="connsiteY44" fmla="*/ 5067327 h 6858001"/>
                <a:gd name="connsiteX45" fmla="*/ 555197 w 6264586"/>
                <a:gd name="connsiteY45" fmla="*/ 5229773 h 6858001"/>
                <a:gd name="connsiteX46" fmla="*/ 660611 w 6264586"/>
                <a:gd name="connsiteY46" fmla="*/ 5387396 h 6858001"/>
                <a:gd name="connsiteX47" fmla="*/ 774110 w 6264586"/>
                <a:gd name="connsiteY47" fmla="*/ 5542182 h 6858001"/>
                <a:gd name="connsiteX48" fmla="*/ 917829 w 6264586"/>
                <a:gd name="connsiteY48" fmla="*/ 5727896 h 6858001"/>
                <a:gd name="connsiteX49" fmla="*/ 1012885 w 6264586"/>
                <a:gd name="connsiteY49" fmla="*/ 5849767 h 6858001"/>
                <a:gd name="connsiteX50" fmla="*/ 1133053 w 6264586"/>
                <a:gd name="connsiteY50" fmla="*/ 6006822 h 6858001"/>
                <a:gd name="connsiteX51" fmla="*/ 1194343 w 6264586"/>
                <a:gd name="connsiteY51" fmla="*/ 6090245 h 6858001"/>
                <a:gd name="connsiteX52" fmla="*/ 1249390 w 6264586"/>
                <a:gd name="connsiteY52" fmla="*/ 6165155 h 6858001"/>
                <a:gd name="connsiteX53" fmla="*/ 1345724 w 6264586"/>
                <a:gd name="connsiteY53" fmla="*/ 6292132 h 6858001"/>
                <a:gd name="connsiteX54" fmla="*/ 1364310 w 6264586"/>
                <a:gd name="connsiteY54" fmla="*/ 6316251 h 6858001"/>
                <a:gd name="connsiteX55" fmla="*/ 1373673 w 6264586"/>
                <a:gd name="connsiteY55" fmla="*/ 6327885 h 6858001"/>
                <a:gd name="connsiteX56" fmla="*/ 1484619 w 6264586"/>
                <a:gd name="connsiteY56" fmla="*/ 6462240 h 6858001"/>
                <a:gd name="connsiteX57" fmla="*/ 1739000 w 6264586"/>
                <a:gd name="connsiteY57" fmla="*/ 6737335 h 6858001"/>
                <a:gd name="connsiteX58" fmla="*/ 1866801 w 6264586"/>
                <a:gd name="connsiteY58" fmla="*/ 6858001 h 6858001"/>
                <a:gd name="connsiteX59" fmla="*/ 1144149 w 6264586"/>
                <a:gd name="connsiteY59" fmla="*/ 6858001 h 6858001"/>
                <a:gd name="connsiteX60" fmla="*/ 1058349 w 6264586"/>
                <a:gd name="connsiteY60" fmla="*/ 6766452 h 6858001"/>
                <a:gd name="connsiteX61" fmla="*/ 580309 w 6264586"/>
                <a:gd name="connsiteY61" fmla="*/ 6105000 h 6858001"/>
                <a:gd name="connsiteX62" fmla="*/ 1 w 6264586"/>
                <a:gd name="connsiteY62" fmla="*/ 3960094 h 6858001"/>
                <a:gd name="connsiteX63" fmla="*/ 2599292 w 6264586"/>
                <a:gd name="connsiteY63" fmla="*/ 37050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6264586" h="6858001">
                  <a:moveTo>
                    <a:pt x="6264586" y="6646464"/>
                  </a:moveTo>
                  <a:lnTo>
                    <a:pt x="6264586" y="6858001"/>
                  </a:lnTo>
                  <a:lnTo>
                    <a:pt x="5997170" y="6858001"/>
                  </a:lnTo>
                  <a:lnTo>
                    <a:pt x="6121512" y="6761029"/>
                  </a:lnTo>
                  <a:close/>
                  <a:moveTo>
                    <a:pt x="2693206" y="0"/>
                  </a:moveTo>
                  <a:lnTo>
                    <a:pt x="5872285" y="0"/>
                  </a:lnTo>
                  <a:lnTo>
                    <a:pt x="6024875" y="68385"/>
                  </a:lnTo>
                  <a:cubicBezTo>
                    <a:pt x="6086250" y="97989"/>
                    <a:pt x="6146793" y="129318"/>
                    <a:pt x="6206432" y="162336"/>
                  </a:cubicBezTo>
                  <a:lnTo>
                    <a:pt x="6264586" y="196704"/>
                  </a:lnTo>
                  <a:lnTo>
                    <a:pt x="6264586" y="537242"/>
                  </a:lnTo>
                  <a:lnTo>
                    <a:pt x="6230189" y="517260"/>
                  </a:lnTo>
                  <a:cubicBezTo>
                    <a:pt x="6012226" y="399931"/>
                    <a:pt x="5780573" y="310008"/>
                    <a:pt x="5540536" y="249543"/>
                  </a:cubicBezTo>
                  <a:cubicBezTo>
                    <a:pt x="5421375" y="219324"/>
                    <a:pt x="5300641" y="195644"/>
                    <a:pt x="5178896" y="178606"/>
                  </a:cubicBezTo>
                  <a:cubicBezTo>
                    <a:pt x="5057977" y="161840"/>
                    <a:pt x="4936276" y="151186"/>
                    <a:pt x="4814279" y="146683"/>
                  </a:cubicBezTo>
                  <a:cubicBezTo>
                    <a:pt x="4761501" y="144556"/>
                    <a:pt x="4708015" y="143421"/>
                    <a:pt x="4655095" y="143421"/>
                  </a:cubicBezTo>
                  <a:cubicBezTo>
                    <a:pt x="4462968" y="143573"/>
                    <a:pt x="4271111" y="157799"/>
                    <a:pt x="4081069" y="185983"/>
                  </a:cubicBezTo>
                  <a:cubicBezTo>
                    <a:pt x="3956361" y="205703"/>
                    <a:pt x="3835058" y="229396"/>
                    <a:pt x="3720566" y="256921"/>
                  </a:cubicBezTo>
                  <a:cubicBezTo>
                    <a:pt x="3596708" y="286714"/>
                    <a:pt x="3477677" y="320905"/>
                    <a:pt x="3365879" y="357651"/>
                  </a:cubicBezTo>
                  <a:cubicBezTo>
                    <a:pt x="3249257" y="395958"/>
                    <a:pt x="3133487" y="438945"/>
                    <a:pt x="3020555" y="486190"/>
                  </a:cubicBezTo>
                  <a:cubicBezTo>
                    <a:pt x="2907623" y="533434"/>
                    <a:pt x="2794832" y="585786"/>
                    <a:pt x="2685163" y="641542"/>
                  </a:cubicBezTo>
                  <a:cubicBezTo>
                    <a:pt x="2463995" y="754348"/>
                    <a:pt x="2250998" y="882488"/>
                    <a:pt x="2047720" y="1025030"/>
                  </a:cubicBezTo>
                  <a:cubicBezTo>
                    <a:pt x="2006151" y="1054399"/>
                    <a:pt x="1951528" y="1093415"/>
                    <a:pt x="1897333" y="1134983"/>
                  </a:cubicBezTo>
                  <a:cubicBezTo>
                    <a:pt x="1876761" y="1150164"/>
                    <a:pt x="1855905" y="1166479"/>
                    <a:pt x="1835758" y="1182227"/>
                  </a:cubicBezTo>
                  <a:lnTo>
                    <a:pt x="1823273" y="1192016"/>
                  </a:lnTo>
                  <a:cubicBezTo>
                    <a:pt x="1797027" y="1211879"/>
                    <a:pt x="1772057" y="1232309"/>
                    <a:pt x="1750918" y="1249760"/>
                  </a:cubicBezTo>
                  <a:cubicBezTo>
                    <a:pt x="1645931" y="1335737"/>
                    <a:pt x="1554422" y="1416605"/>
                    <a:pt x="1469297" y="1496906"/>
                  </a:cubicBezTo>
                  <a:cubicBezTo>
                    <a:pt x="1286595" y="1668957"/>
                    <a:pt x="1118818" y="1856190"/>
                    <a:pt x="967769" y="2056602"/>
                  </a:cubicBezTo>
                  <a:cubicBezTo>
                    <a:pt x="890731" y="2159603"/>
                    <a:pt x="818800" y="2264590"/>
                    <a:pt x="754105" y="2368727"/>
                  </a:cubicBezTo>
                  <a:cubicBezTo>
                    <a:pt x="681749" y="2488328"/>
                    <a:pt x="622304" y="2596720"/>
                    <a:pt x="572364" y="2701140"/>
                  </a:cubicBezTo>
                  <a:cubicBezTo>
                    <a:pt x="557609" y="2730507"/>
                    <a:pt x="543989" y="2760443"/>
                    <a:pt x="532497" y="2786265"/>
                  </a:cubicBezTo>
                  <a:lnTo>
                    <a:pt x="512918" y="2828827"/>
                  </a:lnTo>
                  <a:lnTo>
                    <a:pt x="494475" y="2872240"/>
                  </a:lnTo>
                  <a:lnTo>
                    <a:pt x="491637" y="2878908"/>
                  </a:lnTo>
                  <a:cubicBezTo>
                    <a:pt x="480146" y="2906575"/>
                    <a:pt x="469220" y="2932821"/>
                    <a:pt x="459290" y="2959635"/>
                  </a:cubicBezTo>
                  <a:cubicBezTo>
                    <a:pt x="455176" y="2970559"/>
                    <a:pt x="451060" y="2981484"/>
                    <a:pt x="446805" y="2992408"/>
                  </a:cubicBezTo>
                  <a:cubicBezTo>
                    <a:pt x="439427" y="3012412"/>
                    <a:pt x="432333" y="3030572"/>
                    <a:pt x="426090" y="3049158"/>
                  </a:cubicBezTo>
                  <a:lnTo>
                    <a:pt x="426090" y="3049867"/>
                  </a:lnTo>
                  <a:cubicBezTo>
                    <a:pt x="383010" y="3169099"/>
                    <a:pt x="346959" y="3290756"/>
                    <a:pt x="318124" y="3414202"/>
                  </a:cubicBezTo>
                  <a:cubicBezTo>
                    <a:pt x="260107" y="3661703"/>
                    <a:pt x="230780" y="3915049"/>
                    <a:pt x="230729" y="4169260"/>
                  </a:cubicBezTo>
                  <a:cubicBezTo>
                    <a:pt x="231621" y="4295173"/>
                    <a:pt x="244398" y="4420719"/>
                    <a:pt x="268893" y="4544236"/>
                  </a:cubicBezTo>
                  <a:cubicBezTo>
                    <a:pt x="293708" y="4666304"/>
                    <a:pt x="330882" y="4785521"/>
                    <a:pt x="379840" y="4900056"/>
                  </a:cubicBezTo>
                  <a:cubicBezTo>
                    <a:pt x="387926" y="4919919"/>
                    <a:pt x="397006" y="4939498"/>
                    <a:pt x="406512" y="4960211"/>
                  </a:cubicBezTo>
                  <a:cubicBezTo>
                    <a:pt x="410343" y="4968299"/>
                    <a:pt x="414173" y="4976385"/>
                    <a:pt x="417862" y="4984613"/>
                  </a:cubicBezTo>
                  <a:lnTo>
                    <a:pt x="428077" y="5005043"/>
                  </a:lnTo>
                  <a:cubicBezTo>
                    <a:pt x="438860" y="5026751"/>
                    <a:pt x="449075" y="5047181"/>
                    <a:pt x="460140" y="5067327"/>
                  </a:cubicBezTo>
                  <a:cubicBezTo>
                    <a:pt x="485536" y="5116273"/>
                    <a:pt x="514763" y="5165789"/>
                    <a:pt x="555197" y="5229773"/>
                  </a:cubicBezTo>
                  <a:cubicBezTo>
                    <a:pt x="586836" y="5280282"/>
                    <a:pt x="620318" y="5329511"/>
                    <a:pt x="660611" y="5387396"/>
                  </a:cubicBezTo>
                  <a:cubicBezTo>
                    <a:pt x="698065" y="5440741"/>
                    <a:pt x="737223" y="5493094"/>
                    <a:pt x="774110" y="5542182"/>
                  </a:cubicBezTo>
                  <a:cubicBezTo>
                    <a:pt x="821070" y="5604324"/>
                    <a:pt x="870301" y="5667173"/>
                    <a:pt x="917829" y="5727896"/>
                  </a:cubicBezTo>
                  <a:cubicBezTo>
                    <a:pt x="949042" y="5767762"/>
                    <a:pt x="979828" y="5807063"/>
                    <a:pt x="1012885" y="5849767"/>
                  </a:cubicBezTo>
                  <a:cubicBezTo>
                    <a:pt x="1045942" y="5892471"/>
                    <a:pt x="1089497" y="5948796"/>
                    <a:pt x="1133053" y="6006822"/>
                  </a:cubicBezTo>
                  <a:cubicBezTo>
                    <a:pt x="1153624" y="6034345"/>
                    <a:pt x="1175332" y="6063998"/>
                    <a:pt x="1194343" y="6090245"/>
                  </a:cubicBezTo>
                  <a:cubicBezTo>
                    <a:pt x="1213355" y="6116491"/>
                    <a:pt x="1231372" y="6141178"/>
                    <a:pt x="1249390" y="6165155"/>
                  </a:cubicBezTo>
                  <a:cubicBezTo>
                    <a:pt x="1280461" y="6208000"/>
                    <a:pt x="1313659" y="6250847"/>
                    <a:pt x="1345724" y="6292132"/>
                  </a:cubicBezTo>
                  <a:lnTo>
                    <a:pt x="1364310" y="6316251"/>
                  </a:lnTo>
                  <a:lnTo>
                    <a:pt x="1373673" y="6327885"/>
                  </a:lnTo>
                  <a:cubicBezTo>
                    <a:pt x="1409566" y="6372433"/>
                    <a:pt x="1446738" y="6418542"/>
                    <a:pt x="1484619" y="6462240"/>
                  </a:cubicBezTo>
                  <a:cubicBezTo>
                    <a:pt x="1567899" y="6559850"/>
                    <a:pt x="1653876" y="6652211"/>
                    <a:pt x="1739000" y="6737335"/>
                  </a:cubicBezTo>
                  <a:lnTo>
                    <a:pt x="1866801" y="6858001"/>
                  </a:lnTo>
                  <a:lnTo>
                    <a:pt x="1144149" y="6858001"/>
                  </a:lnTo>
                  <a:lnTo>
                    <a:pt x="1058349" y="6766452"/>
                  </a:lnTo>
                  <a:cubicBezTo>
                    <a:pt x="878978" y="6562465"/>
                    <a:pt x="718756" y="6341104"/>
                    <a:pt x="580309" y="6105000"/>
                  </a:cubicBezTo>
                  <a:cubicBezTo>
                    <a:pt x="200401" y="5454007"/>
                    <a:pt x="146" y="4713831"/>
                    <a:pt x="1" y="3960094"/>
                  </a:cubicBezTo>
                  <a:cubicBezTo>
                    <a:pt x="-335" y="2196754"/>
                    <a:pt x="1071479" y="683605"/>
                    <a:pt x="2599292" y="37050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C093DC50-3BD7-46B1-A300-CD207E152FF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flipH="1">
              <a:off x="305" y="-5977"/>
              <a:ext cx="6238675" cy="6858001"/>
            </a:xfrm>
            <a:custGeom>
              <a:avLst/>
              <a:gdLst>
                <a:gd name="connsiteX0" fmla="*/ 6264586 w 6264586"/>
                <a:gd name="connsiteY0" fmla="*/ 6646464 h 6858001"/>
                <a:gd name="connsiteX1" fmla="*/ 6264586 w 6264586"/>
                <a:gd name="connsiteY1" fmla="*/ 6858001 h 6858001"/>
                <a:gd name="connsiteX2" fmla="*/ 5997170 w 6264586"/>
                <a:gd name="connsiteY2" fmla="*/ 6858001 h 6858001"/>
                <a:gd name="connsiteX3" fmla="*/ 6121512 w 6264586"/>
                <a:gd name="connsiteY3" fmla="*/ 6761029 h 6858001"/>
                <a:gd name="connsiteX4" fmla="*/ 2693206 w 6264586"/>
                <a:gd name="connsiteY4" fmla="*/ 0 h 6858001"/>
                <a:gd name="connsiteX5" fmla="*/ 5872285 w 6264586"/>
                <a:gd name="connsiteY5" fmla="*/ 0 h 6858001"/>
                <a:gd name="connsiteX6" fmla="*/ 6024875 w 6264586"/>
                <a:gd name="connsiteY6" fmla="*/ 68385 h 6858001"/>
                <a:gd name="connsiteX7" fmla="*/ 6206432 w 6264586"/>
                <a:gd name="connsiteY7" fmla="*/ 162336 h 6858001"/>
                <a:gd name="connsiteX8" fmla="*/ 6264586 w 6264586"/>
                <a:gd name="connsiteY8" fmla="*/ 196704 h 6858001"/>
                <a:gd name="connsiteX9" fmla="*/ 6264586 w 6264586"/>
                <a:gd name="connsiteY9" fmla="*/ 537242 h 6858001"/>
                <a:gd name="connsiteX10" fmla="*/ 6230189 w 6264586"/>
                <a:gd name="connsiteY10" fmla="*/ 517260 h 6858001"/>
                <a:gd name="connsiteX11" fmla="*/ 5540536 w 6264586"/>
                <a:gd name="connsiteY11" fmla="*/ 249543 h 6858001"/>
                <a:gd name="connsiteX12" fmla="*/ 5178896 w 6264586"/>
                <a:gd name="connsiteY12" fmla="*/ 178606 h 6858001"/>
                <a:gd name="connsiteX13" fmla="*/ 4814279 w 6264586"/>
                <a:gd name="connsiteY13" fmla="*/ 146683 h 6858001"/>
                <a:gd name="connsiteX14" fmla="*/ 4655095 w 6264586"/>
                <a:gd name="connsiteY14" fmla="*/ 143421 h 6858001"/>
                <a:gd name="connsiteX15" fmla="*/ 4081069 w 6264586"/>
                <a:gd name="connsiteY15" fmla="*/ 185983 h 6858001"/>
                <a:gd name="connsiteX16" fmla="*/ 3720566 w 6264586"/>
                <a:gd name="connsiteY16" fmla="*/ 256921 h 6858001"/>
                <a:gd name="connsiteX17" fmla="*/ 3365879 w 6264586"/>
                <a:gd name="connsiteY17" fmla="*/ 357651 h 6858001"/>
                <a:gd name="connsiteX18" fmla="*/ 3020555 w 6264586"/>
                <a:gd name="connsiteY18" fmla="*/ 486190 h 6858001"/>
                <a:gd name="connsiteX19" fmla="*/ 2685163 w 6264586"/>
                <a:gd name="connsiteY19" fmla="*/ 641542 h 6858001"/>
                <a:gd name="connsiteX20" fmla="*/ 2047720 w 6264586"/>
                <a:gd name="connsiteY20" fmla="*/ 1025030 h 6858001"/>
                <a:gd name="connsiteX21" fmla="*/ 1897333 w 6264586"/>
                <a:gd name="connsiteY21" fmla="*/ 1134983 h 6858001"/>
                <a:gd name="connsiteX22" fmla="*/ 1835758 w 6264586"/>
                <a:gd name="connsiteY22" fmla="*/ 1182227 h 6858001"/>
                <a:gd name="connsiteX23" fmla="*/ 1823273 w 6264586"/>
                <a:gd name="connsiteY23" fmla="*/ 1192016 h 6858001"/>
                <a:gd name="connsiteX24" fmla="*/ 1750918 w 6264586"/>
                <a:gd name="connsiteY24" fmla="*/ 1249760 h 6858001"/>
                <a:gd name="connsiteX25" fmla="*/ 1469297 w 6264586"/>
                <a:gd name="connsiteY25" fmla="*/ 1496906 h 6858001"/>
                <a:gd name="connsiteX26" fmla="*/ 967769 w 6264586"/>
                <a:gd name="connsiteY26" fmla="*/ 2056602 h 6858001"/>
                <a:gd name="connsiteX27" fmla="*/ 754105 w 6264586"/>
                <a:gd name="connsiteY27" fmla="*/ 2368727 h 6858001"/>
                <a:gd name="connsiteX28" fmla="*/ 572364 w 6264586"/>
                <a:gd name="connsiteY28" fmla="*/ 2701140 h 6858001"/>
                <a:gd name="connsiteX29" fmla="*/ 532497 w 6264586"/>
                <a:gd name="connsiteY29" fmla="*/ 2786265 h 6858001"/>
                <a:gd name="connsiteX30" fmla="*/ 512918 w 6264586"/>
                <a:gd name="connsiteY30" fmla="*/ 2828827 h 6858001"/>
                <a:gd name="connsiteX31" fmla="*/ 494475 w 6264586"/>
                <a:gd name="connsiteY31" fmla="*/ 2872240 h 6858001"/>
                <a:gd name="connsiteX32" fmla="*/ 491637 w 6264586"/>
                <a:gd name="connsiteY32" fmla="*/ 2878908 h 6858001"/>
                <a:gd name="connsiteX33" fmla="*/ 459290 w 6264586"/>
                <a:gd name="connsiteY33" fmla="*/ 2959635 h 6858001"/>
                <a:gd name="connsiteX34" fmla="*/ 446805 w 6264586"/>
                <a:gd name="connsiteY34" fmla="*/ 2992408 h 6858001"/>
                <a:gd name="connsiteX35" fmla="*/ 426090 w 6264586"/>
                <a:gd name="connsiteY35" fmla="*/ 3049158 h 6858001"/>
                <a:gd name="connsiteX36" fmla="*/ 426090 w 6264586"/>
                <a:gd name="connsiteY36" fmla="*/ 3049867 h 6858001"/>
                <a:gd name="connsiteX37" fmla="*/ 318124 w 6264586"/>
                <a:gd name="connsiteY37" fmla="*/ 3414202 h 6858001"/>
                <a:gd name="connsiteX38" fmla="*/ 230729 w 6264586"/>
                <a:gd name="connsiteY38" fmla="*/ 4169260 h 6858001"/>
                <a:gd name="connsiteX39" fmla="*/ 268893 w 6264586"/>
                <a:gd name="connsiteY39" fmla="*/ 4544236 h 6858001"/>
                <a:gd name="connsiteX40" fmla="*/ 379840 w 6264586"/>
                <a:gd name="connsiteY40" fmla="*/ 4900056 h 6858001"/>
                <a:gd name="connsiteX41" fmla="*/ 406512 w 6264586"/>
                <a:gd name="connsiteY41" fmla="*/ 4960211 h 6858001"/>
                <a:gd name="connsiteX42" fmla="*/ 417862 w 6264586"/>
                <a:gd name="connsiteY42" fmla="*/ 4984613 h 6858001"/>
                <a:gd name="connsiteX43" fmla="*/ 428077 w 6264586"/>
                <a:gd name="connsiteY43" fmla="*/ 5005043 h 6858001"/>
                <a:gd name="connsiteX44" fmla="*/ 460140 w 6264586"/>
                <a:gd name="connsiteY44" fmla="*/ 5067327 h 6858001"/>
                <a:gd name="connsiteX45" fmla="*/ 555197 w 6264586"/>
                <a:gd name="connsiteY45" fmla="*/ 5229773 h 6858001"/>
                <a:gd name="connsiteX46" fmla="*/ 660611 w 6264586"/>
                <a:gd name="connsiteY46" fmla="*/ 5387396 h 6858001"/>
                <a:gd name="connsiteX47" fmla="*/ 774110 w 6264586"/>
                <a:gd name="connsiteY47" fmla="*/ 5542182 h 6858001"/>
                <a:gd name="connsiteX48" fmla="*/ 917829 w 6264586"/>
                <a:gd name="connsiteY48" fmla="*/ 5727896 h 6858001"/>
                <a:gd name="connsiteX49" fmla="*/ 1012885 w 6264586"/>
                <a:gd name="connsiteY49" fmla="*/ 5849767 h 6858001"/>
                <a:gd name="connsiteX50" fmla="*/ 1133053 w 6264586"/>
                <a:gd name="connsiteY50" fmla="*/ 6006822 h 6858001"/>
                <a:gd name="connsiteX51" fmla="*/ 1194343 w 6264586"/>
                <a:gd name="connsiteY51" fmla="*/ 6090245 h 6858001"/>
                <a:gd name="connsiteX52" fmla="*/ 1249390 w 6264586"/>
                <a:gd name="connsiteY52" fmla="*/ 6165155 h 6858001"/>
                <a:gd name="connsiteX53" fmla="*/ 1345724 w 6264586"/>
                <a:gd name="connsiteY53" fmla="*/ 6292132 h 6858001"/>
                <a:gd name="connsiteX54" fmla="*/ 1364310 w 6264586"/>
                <a:gd name="connsiteY54" fmla="*/ 6316251 h 6858001"/>
                <a:gd name="connsiteX55" fmla="*/ 1373673 w 6264586"/>
                <a:gd name="connsiteY55" fmla="*/ 6327885 h 6858001"/>
                <a:gd name="connsiteX56" fmla="*/ 1484619 w 6264586"/>
                <a:gd name="connsiteY56" fmla="*/ 6462240 h 6858001"/>
                <a:gd name="connsiteX57" fmla="*/ 1739000 w 6264586"/>
                <a:gd name="connsiteY57" fmla="*/ 6737335 h 6858001"/>
                <a:gd name="connsiteX58" fmla="*/ 1866801 w 6264586"/>
                <a:gd name="connsiteY58" fmla="*/ 6858001 h 6858001"/>
                <a:gd name="connsiteX59" fmla="*/ 1144149 w 6264586"/>
                <a:gd name="connsiteY59" fmla="*/ 6858001 h 6858001"/>
                <a:gd name="connsiteX60" fmla="*/ 1058349 w 6264586"/>
                <a:gd name="connsiteY60" fmla="*/ 6766452 h 6858001"/>
                <a:gd name="connsiteX61" fmla="*/ 580309 w 6264586"/>
                <a:gd name="connsiteY61" fmla="*/ 6105000 h 6858001"/>
                <a:gd name="connsiteX62" fmla="*/ 1 w 6264586"/>
                <a:gd name="connsiteY62" fmla="*/ 3960094 h 6858001"/>
                <a:gd name="connsiteX63" fmla="*/ 2599292 w 6264586"/>
                <a:gd name="connsiteY63" fmla="*/ 37050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6264586" h="6858001">
                  <a:moveTo>
                    <a:pt x="6264586" y="6646464"/>
                  </a:moveTo>
                  <a:lnTo>
                    <a:pt x="6264586" y="6858001"/>
                  </a:lnTo>
                  <a:lnTo>
                    <a:pt x="5997170" y="6858001"/>
                  </a:lnTo>
                  <a:lnTo>
                    <a:pt x="6121512" y="6761029"/>
                  </a:lnTo>
                  <a:close/>
                  <a:moveTo>
                    <a:pt x="2693206" y="0"/>
                  </a:moveTo>
                  <a:lnTo>
                    <a:pt x="5872285" y="0"/>
                  </a:lnTo>
                  <a:lnTo>
                    <a:pt x="6024875" y="68385"/>
                  </a:lnTo>
                  <a:cubicBezTo>
                    <a:pt x="6086250" y="97989"/>
                    <a:pt x="6146793" y="129318"/>
                    <a:pt x="6206432" y="162336"/>
                  </a:cubicBezTo>
                  <a:lnTo>
                    <a:pt x="6264586" y="196704"/>
                  </a:lnTo>
                  <a:lnTo>
                    <a:pt x="6264586" y="537242"/>
                  </a:lnTo>
                  <a:lnTo>
                    <a:pt x="6230189" y="517260"/>
                  </a:lnTo>
                  <a:cubicBezTo>
                    <a:pt x="6012226" y="399931"/>
                    <a:pt x="5780573" y="310008"/>
                    <a:pt x="5540536" y="249543"/>
                  </a:cubicBezTo>
                  <a:cubicBezTo>
                    <a:pt x="5421375" y="219324"/>
                    <a:pt x="5300641" y="195644"/>
                    <a:pt x="5178896" y="178606"/>
                  </a:cubicBezTo>
                  <a:cubicBezTo>
                    <a:pt x="5057977" y="161840"/>
                    <a:pt x="4936276" y="151186"/>
                    <a:pt x="4814279" y="146683"/>
                  </a:cubicBezTo>
                  <a:cubicBezTo>
                    <a:pt x="4761501" y="144556"/>
                    <a:pt x="4708015" y="143421"/>
                    <a:pt x="4655095" y="143421"/>
                  </a:cubicBezTo>
                  <a:cubicBezTo>
                    <a:pt x="4462968" y="143573"/>
                    <a:pt x="4271111" y="157799"/>
                    <a:pt x="4081069" y="185983"/>
                  </a:cubicBezTo>
                  <a:cubicBezTo>
                    <a:pt x="3956361" y="205703"/>
                    <a:pt x="3835058" y="229396"/>
                    <a:pt x="3720566" y="256921"/>
                  </a:cubicBezTo>
                  <a:cubicBezTo>
                    <a:pt x="3596708" y="286714"/>
                    <a:pt x="3477677" y="320905"/>
                    <a:pt x="3365879" y="357651"/>
                  </a:cubicBezTo>
                  <a:cubicBezTo>
                    <a:pt x="3249257" y="395958"/>
                    <a:pt x="3133487" y="438945"/>
                    <a:pt x="3020555" y="486190"/>
                  </a:cubicBezTo>
                  <a:cubicBezTo>
                    <a:pt x="2907623" y="533434"/>
                    <a:pt x="2794832" y="585786"/>
                    <a:pt x="2685163" y="641542"/>
                  </a:cubicBezTo>
                  <a:cubicBezTo>
                    <a:pt x="2463995" y="754348"/>
                    <a:pt x="2250998" y="882488"/>
                    <a:pt x="2047720" y="1025030"/>
                  </a:cubicBezTo>
                  <a:cubicBezTo>
                    <a:pt x="2006151" y="1054399"/>
                    <a:pt x="1951528" y="1093415"/>
                    <a:pt x="1897333" y="1134983"/>
                  </a:cubicBezTo>
                  <a:cubicBezTo>
                    <a:pt x="1876761" y="1150164"/>
                    <a:pt x="1855905" y="1166479"/>
                    <a:pt x="1835758" y="1182227"/>
                  </a:cubicBezTo>
                  <a:lnTo>
                    <a:pt x="1823273" y="1192016"/>
                  </a:lnTo>
                  <a:cubicBezTo>
                    <a:pt x="1797027" y="1211879"/>
                    <a:pt x="1772057" y="1232309"/>
                    <a:pt x="1750918" y="1249760"/>
                  </a:cubicBezTo>
                  <a:cubicBezTo>
                    <a:pt x="1645931" y="1335737"/>
                    <a:pt x="1554422" y="1416605"/>
                    <a:pt x="1469297" y="1496906"/>
                  </a:cubicBezTo>
                  <a:cubicBezTo>
                    <a:pt x="1286595" y="1668957"/>
                    <a:pt x="1118818" y="1856190"/>
                    <a:pt x="967769" y="2056602"/>
                  </a:cubicBezTo>
                  <a:cubicBezTo>
                    <a:pt x="890731" y="2159603"/>
                    <a:pt x="818800" y="2264590"/>
                    <a:pt x="754105" y="2368727"/>
                  </a:cubicBezTo>
                  <a:cubicBezTo>
                    <a:pt x="681749" y="2488328"/>
                    <a:pt x="622304" y="2596720"/>
                    <a:pt x="572364" y="2701140"/>
                  </a:cubicBezTo>
                  <a:cubicBezTo>
                    <a:pt x="557609" y="2730507"/>
                    <a:pt x="543989" y="2760443"/>
                    <a:pt x="532497" y="2786265"/>
                  </a:cubicBezTo>
                  <a:lnTo>
                    <a:pt x="512918" y="2828827"/>
                  </a:lnTo>
                  <a:lnTo>
                    <a:pt x="494475" y="2872240"/>
                  </a:lnTo>
                  <a:lnTo>
                    <a:pt x="491637" y="2878908"/>
                  </a:lnTo>
                  <a:cubicBezTo>
                    <a:pt x="480146" y="2906575"/>
                    <a:pt x="469220" y="2932821"/>
                    <a:pt x="459290" y="2959635"/>
                  </a:cubicBezTo>
                  <a:cubicBezTo>
                    <a:pt x="455176" y="2970559"/>
                    <a:pt x="451060" y="2981484"/>
                    <a:pt x="446805" y="2992408"/>
                  </a:cubicBezTo>
                  <a:cubicBezTo>
                    <a:pt x="439427" y="3012412"/>
                    <a:pt x="432333" y="3030572"/>
                    <a:pt x="426090" y="3049158"/>
                  </a:cubicBezTo>
                  <a:lnTo>
                    <a:pt x="426090" y="3049867"/>
                  </a:lnTo>
                  <a:cubicBezTo>
                    <a:pt x="383010" y="3169099"/>
                    <a:pt x="346959" y="3290756"/>
                    <a:pt x="318124" y="3414202"/>
                  </a:cubicBezTo>
                  <a:cubicBezTo>
                    <a:pt x="260107" y="3661703"/>
                    <a:pt x="230780" y="3915049"/>
                    <a:pt x="230729" y="4169260"/>
                  </a:cubicBezTo>
                  <a:cubicBezTo>
                    <a:pt x="231621" y="4295173"/>
                    <a:pt x="244398" y="4420719"/>
                    <a:pt x="268893" y="4544236"/>
                  </a:cubicBezTo>
                  <a:cubicBezTo>
                    <a:pt x="293708" y="4666304"/>
                    <a:pt x="330882" y="4785521"/>
                    <a:pt x="379840" y="4900056"/>
                  </a:cubicBezTo>
                  <a:cubicBezTo>
                    <a:pt x="387926" y="4919919"/>
                    <a:pt x="397006" y="4939498"/>
                    <a:pt x="406512" y="4960211"/>
                  </a:cubicBezTo>
                  <a:cubicBezTo>
                    <a:pt x="410343" y="4968299"/>
                    <a:pt x="414173" y="4976385"/>
                    <a:pt x="417862" y="4984613"/>
                  </a:cubicBezTo>
                  <a:lnTo>
                    <a:pt x="428077" y="5005043"/>
                  </a:lnTo>
                  <a:cubicBezTo>
                    <a:pt x="438860" y="5026751"/>
                    <a:pt x="449075" y="5047181"/>
                    <a:pt x="460140" y="5067327"/>
                  </a:cubicBezTo>
                  <a:cubicBezTo>
                    <a:pt x="485536" y="5116273"/>
                    <a:pt x="514763" y="5165789"/>
                    <a:pt x="555197" y="5229773"/>
                  </a:cubicBezTo>
                  <a:cubicBezTo>
                    <a:pt x="586836" y="5280282"/>
                    <a:pt x="620318" y="5329511"/>
                    <a:pt x="660611" y="5387396"/>
                  </a:cubicBezTo>
                  <a:cubicBezTo>
                    <a:pt x="698065" y="5440741"/>
                    <a:pt x="737223" y="5493094"/>
                    <a:pt x="774110" y="5542182"/>
                  </a:cubicBezTo>
                  <a:cubicBezTo>
                    <a:pt x="821070" y="5604324"/>
                    <a:pt x="870301" y="5667173"/>
                    <a:pt x="917829" y="5727896"/>
                  </a:cubicBezTo>
                  <a:cubicBezTo>
                    <a:pt x="949042" y="5767762"/>
                    <a:pt x="979828" y="5807063"/>
                    <a:pt x="1012885" y="5849767"/>
                  </a:cubicBezTo>
                  <a:cubicBezTo>
                    <a:pt x="1045942" y="5892471"/>
                    <a:pt x="1089497" y="5948796"/>
                    <a:pt x="1133053" y="6006822"/>
                  </a:cubicBezTo>
                  <a:cubicBezTo>
                    <a:pt x="1153624" y="6034345"/>
                    <a:pt x="1175332" y="6063998"/>
                    <a:pt x="1194343" y="6090245"/>
                  </a:cubicBezTo>
                  <a:cubicBezTo>
                    <a:pt x="1213355" y="6116491"/>
                    <a:pt x="1231372" y="6141178"/>
                    <a:pt x="1249390" y="6165155"/>
                  </a:cubicBezTo>
                  <a:cubicBezTo>
                    <a:pt x="1280461" y="6208000"/>
                    <a:pt x="1313659" y="6250847"/>
                    <a:pt x="1345724" y="6292132"/>
                  </a:cubicBezTo>
                  <a:lnTo>
                    <a:pt x="1364310" y="6316251"/>
                  </a:lnTo>
                  <a:lnTo>
                    <a:pt x="1373673" y="6327885"/>
                  </a:lnTo>
                  <a:cubicBezTo>
                    <a:pt x="1409566" y="6372433"/>
                    <a:pt x="1446738" y="6418542"/>
                    <a:pt x="1484619" y="6462240"/>
                  </a:cubicBezTo>
                  <a:cubicBezTo>
                    <a:pt x="1567899" y="6559850"/>
                    <a:pt x="1653876" y="6652211"/>
                    <a:pt x="1739000" y="6737335"/>
                  </a:cubicBezTo>
                  <a:lnTo>
                    <a:pt x="1866801" y="6858001"/>
                  </a:lnTo>
                  <a:lnTo>
                    <a:pt x="1144149" y="6858001"/>
                  </a:lnTo>
                  <a:lnTo>
                    <a:pt x="1058349" y="6766452"/>
                  </a:lnTo>
                  <a:cubicBezTo>
                    <a:pt x="878978" y="6562465"/>
                    <a:pt x="718756" y="6341104"/>
                    <a:pt x="580309" y="6105000"/>
                  </a:cubicBezTo>
                  <a:cubicBezTo>
                    <a:pt x="200401" y="5454007"/>
                    <a:pt x="146" y="4713831"/>
                    <a:pt x="1" y="3960094"/>
                  </a:cubicBezTo>
                  <a:cubicBezTo>
                    <a:pt x="-335" y="2196754"/>
                    <a:pt x="1071479" y="683605"/>
                    <a:pt x="2599292" y="37050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3" name="תיבת טקסט 2">
            <a:extLst>
              <a:ext uri="{FF2B5EF4-FFF2-40B4-BE49-F238E27FC236}">
                <a16:creationId xmlns:a16="http://schemas.microsoft.com/office/drawing/2014/main" id="{CF306717-6ACC-1944-A4F5-3E1D85E345C1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234422" y="949110"/>
            <a:ext cx="5531030" cy="285462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he-IL" sz="2800" b="1" dirty="0">
                <a:ln/>
                <a:blipFill>
                  <a:blip r:embed="rId6"/>
                  <a:tile tx="0" ty="0" sx="100000" sy="100000" flip="none" algn="tl"/>
                </a:blipFill>
                <a:effectLst>
                  <a:outerShdw blurRad="38100" dist="19050" dir="2700000" algn="tl" rotWithShape="0">
                    <a:schemeClr val="dk1">
                      <a:lumMod val="50000"/>
                      <a:alpha val="40000"/>
                    </a:schemeClr>
                  </a:outerShdw>
                </a:effectLst>
                <a:latin typeface="David" panose="020E0502060401010101" pitchFamily="34" charset="-79"/>
                <a:cs typeface="David" panose="020E0502060401010101" pitchFamily="34" charset="-79"/>
              </a:rPr>
              <a:t>תיאור המערכת</a:t>
            </a:r>
          </a:p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he-IL" sz="2800" b="1" dirty="0">
                <a:ln/>
                <a:blipFill>
                  <a:blip r:embed="rId6"/>
                  <a:tile tx="0" ty="0" sx="100000" sy="100000" flip="none" algn="tl"/>
                </a:blipFill>
                <a:effectLst>
                  <a:outerShdw blurRad="38100" dist="19050" dir="2700000" algn="tl" rotWithShape="0">
                    <a:schemeClr val="dk1">
                      <a:lumMod val="50000"/>
                      <a:alpha val="40000"/>
                    </a:schemeClr>
                  </a:outerShdw>
                </a:effectLst>
                <a:latin typeface="David" panose="020E0502060401010101" pitchFamily="34" charset="-79"/>
                <a:cs typeface="David" panose="020E0502060401010101" pitchFamily="34" charset="-79"/>
              </a:rPr>
              <a:t>לו"ז תכנון וביצוע</a:t>
            </a:r>
          </a:p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he-IL" sz="2800" b="1" dirty="0">
                <a:ln/>
                <a:blipFill>
                  <a:blip r:embed="rId6"/>
                  <a:tile tx="0" ty="0" sx="100000" sy="100000" flip="none" algn="tl"/>
                </a:blipFill>
                <a:effectLst>
                  <a:outerShdw blurRad="38100" dist="19050" dir="2700000" algn="tl" rotWithShape="0">
                    <a:schemeClr val="dk1">
                      <a:lumMod val="50000"/>
                      <a:alpha val="40000"/>
                    </a:schemeClr>
                  </a:outerShdw>
                </a:effectLst>
                <a:latin typeface="David" panose="020E0502060401010101" pitchFamily="34" charset="-79"/>
                <a:cs typeface="David" panose="020E0502060401010101" pitchFamily="34" charset="-79"/>
              </a:rPr>
              <a:t>תנאי סף לתחילת עבודה וסיום</a:t>
            </a:r>
          </a:p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he-IL" sz="2800" b="1" dirty="0">
                <a:ln/>
                <a:blipFill>
                  <a:blip r:embed="rId6"/>
                  <a:tile tx="0" ty="0" sx="100000" sy="100000" flip="none" algn="tl"/>
                </a:blipFill>
                <a:effectLst>
                  <a:outerShdw blurRad="38100" dist="19050" dir="2700000" algn="tl" rotWithShape="0">
                    <a:schemeClr val="dk1">
                      <a:lumMod val="50000"/>
                      <a:alpha val="40000"/>
                    </a:schemeClr>
                  </a:outerShdw>
                </a:effectLst>
                <a:latin typeface="David" panose="020E0502060401010101" pitchFamily="34" charset="-79"/>
                <a:cs typeface="David" panose="020E0502060401010101" pitchFamily="34" charset="-79"/>
              </a:rPr>
              <a:t>דרישות לביצוע הבדיקות</a:t>
            </a:r>
            <a:r>
              <a:rPr lang="en-US" sz="2800" b="1" dirty="0">
                <a:ln/>
                <a:blipFill>
                  <a:blip r:embed="rId6"/>
                  <a:tile tx="0" ty="0" sx="100000" sy="100000" flip="none" algn="tl"/>
                </a:blipFill>
                <a:effectLst>
                  <a:outerShdw blurRad="38100" dist="19050" dir="2700000" algn="tl" rotWithShape="0">
                    <a:schemeClr val="dk1">
                      <a:lumMod val="50000"/>
                      <a:alpha val="40000"/>
                    </a:schemeClr>
                  </a:outerShdw>
                </a:effectLst>
                <a:latin typeface="David" panose="020E0502060401010101" pitchFamily="34" charset="-79"/>
                <a:cs typeface="David" panose="020E0502060401010101" pitchFamily="34" charset="-79"/>
              </a:rPr>
              <a:t> </a:t>
            </a:r>
            <a:endParaRPr lang="he-IL" sz="2800" b="1" dirty="0">
              <a:ln/>
              <a:blipFill>
                <a:blip r:embed="rId6"/>
                <a:tile tx="0" ty="0" sx="100000" sy="100000" flip="none" algn="tl"/>
              </a:blipFill>
              <a:effectLst>
                <a:outerShdw blurRad="38100" dist="19050" dir="2700000" algn="tl" rotWithShape="0">
                  <a:schemeClr val="dk1">
                    <a:lumMod val="50000"/>
                    <a:alpha val="40000"/>
                  </a:schemeClr>
                </a:outerShdw>
              </a:effectLst>
              <a:latin typeface="David" panose="020E0502060401010101" pitchFamily="34" charset="-79"/>
              <a:cs typeface="David" panose="020E0502060401010101" pitchFamily="34" charset="-79"/>
            </a:endParaRPr>
          </a:p>
        </p:txBody>
      </p:sp>
      <p:pic>
        <p:nvPicPr>
          <p:cNvPr id="3074" name="Picture 2" descr="Warehouse Management PPT Template and Google Slides">
            <a:extLst>
              <a:ext uri="{FF2B5EF4-FFF2-40B4-BE49-F238E27FC236}">
                <a16:creationId xmlns:a16="http://schemas.microsoft.com/office/drawing/2014/main" id="{0E3A92F7-C64D-5D3B-39F6-148F600E359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9" t="3555" r="48830" b="4444"/>
          <a:stretch/>
        </p:blipFill>
        <p:spPr bwMode="auto">
          <a:xfrm>
            <a:off x="6672649" y="3953284"/>
            <a:ext cx="4922012" cy="2752316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1">
            <a:hlinkClick r:id="" action="ppaction://media"/>
            <a:extLst>
              <a:ext uri="{FF2B5EF4-FFF2-40B4-BE49-F238E27FC236}">
                <a16:creationId xmlns:a16="http://schemas.microsoft.com/office/drawing/2014/main" id="{EE7AE264-333C-D775-9EA4-E6748FC0BDF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2359025" y="7254875"/>
            <a:ext cx="609600" cy="609600"/>
          </a:xfrm>
          <a:prstGeom prst="rect">
            <a:avLst/>
          </a:prstGeom>
        </p:spPr>
      </p:pic>
      <p:pic>
        <p:nvPicPr>
          <p:cNvPr id="4" name="Luna">
            <a:hlinkClick r:id="" action="ppaction://media"/>
            <a:extLst>
              <a:ext uri="{FF2B5EF4-FFF2-40B4-BE49-F238E27FC236}">
                <a16:creationId xmlns:a16="http://schemas.microsoft.com/office/drawing/2014/main" id="{59029D36-9F7F-1E5C-3B6A-DD545283A10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9"/>
          <a:srcRect t="25851" b="17616"/>
          <a:stretch/>
        </p:blipFill>
        <p:spPr>
          <a:xfrm>
            <a:off x="4622831" y="943132"/>
            <a:ext cx="3241454" cy="3257781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93602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3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3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3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22" dur="2328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3328"/>
                            </p:stCondLst>
                            <p:childTnLst>
                              <p:par>
                                <p:cTn id="2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328"/>
                            </p:stCondLst>
                            <p:childTnLst>
                              <p:par>
                                <p:cTn id="27" presetID="2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8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29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30" dur="18603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21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41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2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71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102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20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50" presetClass="path" presetSubtype="0" accel="50000" decel="50000" fill="hold" nodeType="withEffect">
                                  <p:stCondLst>
                                    <p:cond delay="10200"/>
                                  </p:stCondLst>
                                  <p:childTnLst>
                                    <p:animMotion origin="layout" path="M -0.38151 -0.08241 L -0.2569 -0.08241 C -0.20078 -0.08241 -0.03971 -0.09884 -0.03971 -0.04282 C -0.03971 -0.00046 6.25E-7 -0.02986 6.25E-7 0.01273 " pathEditMode="relative" rAng="0" ptsTypes="AAAA">
                                      <p:cBhvr>
                                        <p:cTn id="47" dur="20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076" y="4630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124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2000"/>
                                        <p:tgtEl>
                                          <p:spTgt spid="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145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2000"/>
                                        <p:tgtEl>
                                          <p:spTgt spid="2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69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2000"/>
                                        <p:tgtEl>
                                          <p:spTgt spid="2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5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  <p:video>
              <p:cMediaNode vol="80000">
                <p:cTn id="58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</p:childTnLst>
        </p:cTn>
      </p:par>
    </p:tnLst>
    <p:bldLst>
      <p:bldP spid="12" grpId="0"/>
      <p:bldP spid="23" grpId="0" uiExpand="1" build="p"/>
      <p:bldP spid="3" grpId="0" uiExpand="1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35000">
              <a:srgbClr val="F7F6F6"/>
            </a:gs>
            <a:gs pos="52000">
              <a:srgbClr val="F0D9CC"/>
            </a:gs>
          </a:gsLst>
          <a:path path="circle">
            <a:fillToRect t="100000" r="100000"/>
          </a:path>
          <a:tileRect l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7" name="Rectangle 36">
            <a:extLst>
              <a:ext uri="{FF2B5EF4-FFF2-40B4-BE49-F238E27FC236}">
                <a16:creationId xmlns:a16="http://schemas.microsoft.com/office/drawing/2014/main" id="{D1942232-83D0-49E2-AF9B-1F97E3C1EF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video-name">
            <a:hlinkClick r:id="" action="ppaction://media"/>
            <a:extLst>
              <a:ext uri="{FF2B5EF4-FFF2-40B4-BE49-F238E27FC236}">
                <a16:creationId xmlns:a16="http://schemas.microsoft.com/office/drawing/2014/main" id="{B4A387E7-6388-5429-22DD-9F31853DC2B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2">
                  <p14:trim end="623"/>
                </p14:media>
              </p:ext>
            </p:extLst>
          </p:nvPr>
        </p:nvPicPr>
        <p:blipFill>
          <a:blip r:embed="rId8"/>
          <a:srcRect l="29567" t="13002" r="32713" b="-315"/>
          <a:stretch/>
        </p:blipFill>
        <p:spPr>
          <a:xfrm>
            <a:off x="2721946" y="1550456"/>
            <a:ext cx="3410488" cy="4440677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9" name="Rectangle 38" hidden="1">
            <a:extLst>
              <a:ext uri="{FF2B5EF4-FFF2-40B4-BE49-F238E27FC236}">
                <a16:creationId xmlns:a16="http://schemas.microsoft.com/office/drawing/2014/main" id="{E9E70D72-6E23-4015-A4A6-85C120C191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3746057" y="207123"/>
            <a:ext cx="4699580" cy="783771"/>
          </a:xfrm>
          <a:prstGeom prst="rect">
            <a:avLst/>
          </a:prstGeom>
        </p:spPr>
        <p:txBody>
          <a:bodyPr spcFirstLastPara="1" numCol="1" rtlCol="1" anchor="b">
            <a:prstTxWarp prst="textArchDown">
              <a:avLst/>
            </a:prstTxWarp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800">
                <a:ln w="12700">
                  <a:solidFill>
                    <a:srgbClr val="444346"/>
                  </a:solidFill>
                </a:ln>
                <a:solidFill>
                  <a:srgbClr val="4D4E51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dirty="0">
                <a:solidFill>
                  <a:schemeClr val="accent6">
                    <a:lumMod val="50000"/>
                  </a:schemeClr>
                </a:solidFill>
              </a:rPr>
              <a:t>תיאור המערכת 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C28A977F-B603-4D81-B0FC-C8DE048A79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-305" y="-1"/>
            <a:ext cx="3362070" cy="2522848"/>
            <a:chOff x="-305" y="-1"/>
            <a:chExt cx="3832880" cy="2876136"/>
          </a:xfrm>
        </p:grpSpPr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0183CE8C-E039-4B2F-A36E-5FD5CD5DE19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1"/>
              <a:ext cx="3815424" cy="2653659"/>
            </a:xfrm>
            <a:custGeom>
              <a:avLst/>
              <a:gdLst>
                <a:gd name="connsiteX0" fmla="*/ 3203055 w 3815424"/>
                <a:gd name="connsiteY0" fmla="*/ 0 h 2653659"/>
                <a:gd name="connsiteX1" fmla="*/ 3815424 w 3815424"/>
                <a:gd name="connsiteY1" fmla="*/ 0 h 2653659"/>
                <a:gd name="connsiteX2" fmla="*/ 3801025 w 3815424"/>
                <a:gd name="connsiteY2" fmla="*/ 214243 h 2653659"/>
                <a:gd name="connsiteX3" fmla="*/ 587142 w 3815424"/>
                <a:gd name="connsiteY3" fmla="*/ 2653659 h 2653659"/>
                <a:gd name="connsiteX4" fmla="*/ 53389 w 3815424"/>
                <a:gd name="connsiteY4" fmla="*/ 2605041 h 2653659"/>
                <a:gd name="connsiteX5" fmla="*/ 0 w 3815424"/>
                <a:gd name="connsiteY5" fmla="*/ 2593136 h 2653659"/>
                <a:gd name="connsiteX6" fmla="*/ 0 w 3815424"/>
                <a:gd name="connsiteY6" fmla="*/ 1994836 h 2653659"/>
                <a:gd name="connsiteX7" fmla="*/ 159710 w 3815424"/>
                <a:gd name="connsiteY7" fmla="*/ 2035054 h 2653659"/>
                <a:gd name="connsiteX8" fmla="*/ 587142 w 3815424"/>
                <a:gd name="connsiteY8" fmla="*/ 2075152 h 2653659"/>
                <a:gd name="connsiteX9" fmla="*/ 1549283 w 3815424"/>
                <a:gd name="connsiteY9" fmla="*/ 1900153 h 2653659"/>
                <a:gd name="connsiteX10" fmla="*/ 2406698 w 3815424"/>
                <a:gd name="connsiteY10" fmla="*/ 1418450 h 2653659"/>
                <a:gd name="connsiteX11" fmla="*/ 2996069 w 3815424"/>
                <a:gd name="connsiteY11" fmla="*/ 728678 h 2653659"/>
                <a:gd name="connsiteX12" fmla="*/ 3193967 w 3815424"/>
                <a:gd name="connsiteY12" fmla="*/ 137719 h 2653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15424" h="2653659">
                  <a:moveTo>
                    <a:pt x="3203055" y="0"/>
                  </a:moveTo>
                  <a:lnTo>
                    <a:pt x="3815424" y="0"/>
                  </a:lnTo>
                  <a:lnTo>
                    <a:pt x="3801025" y="214243"/>
                  </a:lnTo>
                  <a:cubicBezTo>
                    <a:pt x="3616317" y="1584467"/>
                    <a:pt x="2091637" y="2653659"/>
                    <a:pt x="587142" y="2653659"/>
                  </a:cubicBezTo>
                  <a:cubicBezTo>
                    <a:pt x="400192" y="2653659"/>
                    <a:pt x="222112" y="2636953"/>
                    <a:pt x="53389" y="2605041"/>
                  </a:cubicBezTo>
                  <a:lnTo>
                    <a:pt x="0" y="2593136"/>
                  </a:lnTo>
                  <a:lnTo>
                    <a:pt x="0" y="1994836"/>
                  </a:lnTo>
                  <a:lnTo>
                    <a:pt x="159710" y="2035054"/>
                  </a:lnTo>
                  <a:cubicBezTo>
                    <a:pt x="295467" y="2061726"/>
                    <a:pt x="438268" y="2075152"/>
                    <a:pt x="587142" y="2075152"/>
                  </a:cubicBezTo>
                  <a:cubicBezTo>
                    <a:pt x="901731" y="2075152"/>
                    <a:pt x="1234490" y="2014697"/>
                    <a:pt x="1549283" y="1900153"/>
                  </a:cubicBezTo>
                  <a:cubicBezTo>
                    <a:pt x="1860709" y="1786959"/>
                    <a:pt x="2157231" y="1620350"/>
                    <a:pt x="2406698" y="1418450"/>
                  </a:cubicBezTo>
                  <a:cubicBezTo>
                    <a:pt x="2655859" y="1216840"/>
                    <a:pt x="2859596" y="978302"/>
                    <a:pt x="2996069" y="728678"/>
                  </a:cubicBezTo>
                  <a:cubicBezTo>
                    <a:pt x="3101178" y="536396"/>
                    <a:pt x="3167417" y="338366"/>
                    <a:pt x="3193967" y="137719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3EB77281-FAB4-40D0-B3F3-264EC4AB20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-1"/>
              <a:ext cx="3815424" cy="2653660"/>
            </a:xfrm>
            <a:custGeom>
              <a:avLst/>
              <a:gdLst>
                <a:gd name="connsiteX0" fmla="*/ 3305038 w 3815424"/>
                <a:gd name="connsiteY0" fmla="*/ 0 h 2653660"/>
                <a:gd name="connsiteX1" fmla="*/ 3815424 w 3815424"/>
                <a:gd name="connsiteY1" fmla="*/ 0 h 2653660"/>
                <a:gd name="connsiteX2" fmla="*/ 3801025 w 3815424"/>
                <a:gd name="connsiteY2" fmla="*/ 214244 h 2653660"/>
                <a:gd name="connsiteX3" fmla="*/ 587142 w 3815424"/>
                <a:gd name="connsiteY3" fmla="*/ 2653660 h 2653660"/>
                <a:gd name="connsiteX4" fmla="*/ 53389 w 3815424"/>
                <a:gd name="connsiteY4" fmla="*/ 2605042 h 2653660"/>
                <a:gd name="connsiteX5" fmla="*/ 0 w 3815424"/>
                <a:gd name="connsiteY5" fmla="*/ 2593137 h 2653660"/>
                <a:gd name="connsiteX6" fmla="*/ 0 w 3815424"/>
                <a:gd name="connsiteY6" fmla="*/ 2094444 h 2653660"/>
                <a:gd name="connsiteX7" fmla="*/ 137675 w 3815424"/>
                <a:gd name="connsiteY7" fmla="*/ 2129195 h 2653660"/>
                <a:gd name="connsiteX8" fmla="*/ 587142 w 3815424"/>
                <a:gd name="connsiteY8" fmla="*/ 2171571 h 2653660"/>
                <a:gd name="connsiteX9" fmla="*/ 1585826 w 3815424"/>
                <a:gd name="connsiteY9" fmla="*/ 1990112 h 2653660"/>
                <a:gd name="connsiteX10" fmla="*/ 2473046 w 3815424"/>
                <a:gd name="connsiteY10" fmla="*/ 1491633 h 2653660"/>
                <a:gd name="connsiteX11" fmla="*/ 3086710 w 3815424"/>
                <a:gd name="connsiteY11" fmla="*/ 772838 h 2653660"/>
                <a:gd name="connsiteX12" fmla="*/ 3295217 w 3815424"/>
                <a:gd name="connsiteY12" fmla="*/ 149229 h 2653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15424" h="2653660">
                  <a:moveTo>
                    <a:pt x="3305038" y="0"/>
                  </a:moveTo>
                  <a:lnTo>
                    <a:pt x="3815424" y="0"/>
                  </a:lnTo>
                  <a:lnTo>
                    <a:pt x="3801025" y="214244"/>
                  </a:lnTo>
                  <a:cubicBezTo>
                    <a:pt x="3616317" y="1584467"/>
                    <a:pt x="2091637" y="2653660"/>
                    <a:pt x="587142" y="2653660"/>
                  </a:cubicBezTo>
                  <a:cubicBezTo>
                    <a:pt x="400192" y="2653660"/>
                    <a:pt x="222112" y="2636954"/>
                    <a:pt x="53389" y="2605042"/>
                  </a:cubicBezTo>
                  <a:lnTo>
                    <a:pt x="0" y="2593137"/>
                  </a:lnTo>
                  <a:lnTo>
                    <a:pt x="0" y="2094444"/>
                  </a:lnTo>
                  <a:lnTo>
                    <a:pt x="137675" y="2129195"/>
                  </a:lnTo>
                  <a:cubicBezTo>
                    <a:pt x="280616" y="2157374"/>
                    <a:pt x="430766" y="2171571"/>
                    <a:pt x="587142" y="2171571"/>
                  </a:cubicBezTo>
                  <a:cubicBezTo>
                    <a:pt x="918879" y="2171571"/>
                    <a:pt x="1254904" y="2110634"/>
                    <a:pt x="1585826" y="1990112"/>
                  </a:cubicBezTo>
                  <a:cubicBezTo>
                    <a:pt x="1908071" y="1873061"/>
                    <a:pt x="2214800" y="1700666"/>
                    <a:pt x="2473046" y="1491633"/>
                  </a:cubicBezTo>
                  <a:cubicBezTo>
                    <a:pt x="2735782" y="1279031"/>
                    <a:pt x="2942276" y="1037118"/>
                    <a:pt x="3086710" y="772838"/>
                  </a:cubicBezTo>
                  <a:cubicBezTo>
                    <a:pt x="3197408" y="570216"/>
                    <a:pt x="3267226" y="361248"/>
                    <a:pt x="3295217" y="149229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815E59F3-75FC-494F-8737-5F00A4964FE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1"/>
              <a:ext cx="3815986" cy="2675935"/>
            </a:xfrm>
            <a:custGeom>
              <a:avLst/>
              <a:gdLst>
                <a:gd name="connsiteX0" fmla="*/ 3648768 w 3815986"/>
                <a:gd name="connsiteY0" fmla="*/ 0 h 2675935"/>
                <a:gd name="connsiteX1" fmla="*/ 3815986 w 3815986"/>
                <a:gd name="connsiteY1" fmla="*/ 0 h 2675935"/>
                <a:gd name="connsiteX2" fmla="*/ 3804695 w 3815986"/>
                <a:gd name="connsiteY2" fmla="*/ 200084 h 2675935"/>
                <a:gd name="connsiteX3" fmla="*/ 3762590 w 3815986"/>
                <a:gd name="connsiteY3" fmla="*/ 455543 h 2675935"/>
                <a:gd name="connsiteX4" fmla="*/ 3592332 w 3815986"/>
                <a:gd name="connsiteY4" fmla="*/ 947274 h 2675935"/>
                <a:gd name="connsiteX5" fmla="*/ 2953967 w 3815986"/>
                <a:gd name="connsiteY5" fmla="*/ 1782349 h 2675935"/>
                <a:gd name="connsiteX6" fmla="*/ 2530669 w 3815986"/>
                <a:gd name="connsiteY6" fmla="*/ 2109494 h 2675935"/>
                <a:gd name="connsiteX7" fmla="*/ 2057561 w 3815986"/>
                <a:gd name="connsiteY7" fmla="*/ 2369245 h 2675935"/>
                <a:gd name="connsiteX8" fmla="*/ 1007330 w 3815986"/>
                <a:gd name="connsiteY8" fmla="*/ 2655701 h 2675935"/>
                <a:gd name="connsiteX9" fmla="*/ 732765 w 3815986"/>
                <a:gd name="connsiteY9" fmla="*/ 2674696 h 2675935"/>
                <a:gd name="connsiteX10" fmla="*/ 457666 w 3815986"/>
                <a:gd name="connsiteY10" fmla="*/ 2670839 h 2675935"/>
                <a:gd name="connsiteX11" fmla="*/ 183574 w 3815986"/>
                <a:gd name="connsiteY11" fmla="*/ 2643312 h 2675935"/>
                <a:gd name="connsiteX12" fmla="*/ 0 w 3815986"/>
                <a:gd name="connsiteY12" fmla="*/ 2607798 h 2675935"/>
                <a:gd name="connsiteX13" fmla="*/ 0 w 3815986"/>
                <a:gd name="connsiteY13" fmla="*/ 2356652 h 2675935"/>
                <a:gd name="connsiteX14" fmla="*/ 222195 w 3815986"/>
                <a:gd name="connsiteY14" fmla="*/ 2396940 h 2675935"/>
                <a:gd name="connsiteX15" fmla="*/ 472364 w 3815986"/>
                <a:gd name="connsiteY15" fmla="*/ 2419092 h 2675935"/>
                <a:gd name="connsiteX16" fmla="*/ 974972 w 3815986"/>
                <a:gd name="connsiteY16" fmla="*/ 2402122 h 2675935"/>
                <a:gd name="connsiteX17" fmla="*/ 1468292 w 3815986"/>
                <a:gd name="connsiteY17" fmla="*/ 2304162 h 2675935"/>
                <a:gd name="connsiteX18" fmla="*/ 1940176 w 3815986"/>
                <a:gd name="connsiteY18" fmla="*/ 2133695 h 2675935"/>
                <a:gd name="connsiteX19" fmla="*/ 2783403 w 3815986"/>
                <a:gd name="connsiteY19" fmla="*/ 1609954 h 2675935"/>
                <a:gd name="connsiteX20" fmla="*/ 3128104 w 3815986"/>
                <a:gd name="connsiteY20" fmla="*/ 1260439 h 2675935"/>
                <a:gd name="connsiteX21" fmla="*/ 3400639 w 3815986"/>
                <a:gd name="connsiteY21" fmla="*/ 859052 h 2675935"/>
                <a:gd name="connsiteX22" fmla="*/ 3585595 w 3815986"/>
                <a:gd name="connsiteY22" fmla="*/ 415336 h 2675935"/>
                <a:gd name="connsiteX23" fmla="*/ 3635918 w 3815986"/>
                <a:gd name="connsiteY23" fmla="*/ 181137 h 2675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815986" h="2675935">
                  <a:moveTo>
                    <a:pt x="3648768" y="0"/>
                  </a:moveTo>
                  <a:lnTo>
                    <a:pt x="3815986" y="0"/>
                  </a:lnTo>
                  <a:lnTo>
                    <a:pt x="3804695" y="200084"/>
                  </a:lnTo>
                  <a:cubicBezTo>
                    <a:pt x="3795228" y="285751"/>
                    <a:pt x="3781167" y="371032"/>
                    <a:pt x="3762590" y="455543"/>
                  </a:cubicBezTo>
                  <a:cubicBezTo>
                    <a:pt x="3725537" y="624467"/>
                    <a:pt x="3668784" y="790112"/>
                    <a:pt x="3592332" y="947274"/>
                  </a:cubicBezTo>
                  <a:cubicBezTo>
                    <a:pt x="3438712" y="1261596"/>
                    <a:pt x="3216091" y="1542847"/>
                    <a:pt x="2953967" y="1782349"/>
                  </a:cubicBezTo>
                  <a:cubicBezTo>
                    <a:pt x="2822599" y="1902099"/>
                    <a:pt x="2680615" y="2011341"/>
                    <a:pt x="2530669" y="2109494"/>
                  </a:cubicBezTo>
                  <a:cubicBezTo>
                    <a:pt x="2380520" y="2207551"/>
                    <a:pt x="2222510" y="2294906"/>
                    <a:pt x="2057561" y="2369245"/>
                  </a:cubicBezTo>
                  <a:cubicBezTo>
                    <a:pt x="1727252" y="2516859"/>
                    <a:pt x="1371629" y="2614434"/>
                    <a:pt x="1007330" y="2655701"/>
                  </a:cubicBezTo>
                  <a:cubicBezTo>
                    <a:pt x="916281" y="2665873"/>
                    <a:pt x="824568" y="2672188"/>
                    <a:pt x="732765" y="2674696"/>
                  </a:cubicBezTo>
                  <a:cubicBezTo>
                    <a:pt x="640963" y="2677203"/>
                    <a:pt x="549072" y="2675901"/>
                    <a:pt x="457666" y="2670839"/>
                  </a:cubicBezTo>
                  <a:cubicBezTo>
                    <a:pt x="366106" y="2665584"/>
                    <a:pt x="274572" y="2656521"/>
                    <a:pt x="183574" y="2643312"/>
                  </a:cubicBezTo>
                  <a:lnTo>
                    <a:pt x="0" y="2607798"/>
                  </a:lnTo>
                  <a:lnTo>
                    <a:pt x="0" y="2356652"/>
                  </a:lnTo>
                  <a:lnTo>
                    <a:pt x="222195" y="2396940"/>
                  </a:lnTo>
                  <a:cubicBezTo>
                    <a:pt x="304990" y="2407980"/>
                    <a:pt x="388511" y="2415283"/>
                    <a:pt x="472364" y="2419092"/>
                  </a:cubicBezTo>
                  <a:cubicBezTo>
                    <a:pt x="640376" y="2427095"/>
                    <a:pt x="808184" y="2421791"/>
                    <a:pt x="974972" y="2402122"/>
                  </a:cubicBezTo>
                  <a:cubicBezTo>
                    <a:pt x="1141658" y="2382358"/>
                    <a:pt x="1306812" y="2349286"/>
                    <a:pt x="1468292" y="2304162"/>
                  </a:cubicBezTo>
                  <a:cubicBezTo>
                    <a:pt x="1629874" y="2259231"/>
                    <a:pt x="1787475" y="2201091"/>
                    <a:pt x="1940176" y="2133695"/>
                  </a:cubicBezTo>
                  <a:cubicBezTo>
                    <a:pt x="2246498" y="2000349"/>
                    <a:pt x="2532507" y="1823520"/>
                    <a:pt x="2783403" y="1609954"/>
                  </a:cubicBezTo>
                  <a:cubicBezTo>
                    <a:pt x="2908442" y="1502833"/>
                    <a:pt x="3024295" y="1385975"/>
                    <a:pt x="3128104" y="1260439"/>
                  </a:cubicBezTo>
                  <a:cubicBezTo>
                    <a:pt x="3232116" y="1135096"/>
                    <a:pt x="3323881" y="1000689"/>
                    <a:pt x="3400639" y="859052"/>
                  </a:cubicBezTo>
                  <a:cubicBezTo>
                    <a:pt x="3477399" y="717510"/>
                    <a:pt x="3541296" y="569316"/>
                    <a:pt x="3585595" y="415336"/>
                  </a:cubicBezTo>
                  <a:cubicBezTo>
                    <a:pt x="3607796" y="338540"/>
                    <a:pt x="3624638" y="260224"/>
                    <a:pt x="3635918" y="181137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43ADDCFA-B066-4D79-AB71-062E66E58F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-1"/>
              <a:ext cx="3832270" cy="2876136"/>
            </a:xfrm>
            <a:custGeom>
              <a:avLst/>
              <a:gdLst>
                <a:gd name="connsiteX0" fmla="*/ 3800718 w 3832270"/>
                <a:gd name="connsiteY0" fmla="*/ 0 h 2876136"/>
                <a:gd name="connsiteX1" fmla="*/ 3832270 w 3832270"/>
                <a:gd name="connsiteY1" fmla="*/ 0 h 2876136"/>
                <a:gd name="connsiteX2" fmla="*/ 3824562 w 3832270"/>
                <a:gd name="connsiteY2" fmla="*/ 143769 h 2876136"/>
                <a:gd name="connsiteX3" fmla="*/ 3628155 w 3832270"/>
                <a:gd name="connsiteY3" fmla="*/ 922055 h 2876136"/>
                <a:gd name="connsiteX4" fmla="*/ 3514853 w 3832270"/>
                <a:gd name="connsiteY4" fmla="*/ 1169078 h 2876136"/>
                <a:gd name="connsiteX5" fmla="*/ 3379198 w 3832270"/>
                <a:gd name="connsiteY5" fmla="*/ 1407037 h 2876136"/>
                <a:gd name="connsiteX6" fmla="*/ 3043787 w 3832270"/>
                <a:gd name="connsiteY6" fmla="*/ 1848342 h 2876136"/>
                <a:gd name="connsiteX7" fmla="*/ 2845661 w 3832270"/>
                <a:gd name="connsiteY7" fmla="*/ 2047444 h 2876136"/>
                <a:gd name="connsiteX8" fmla="*/ 2793197 w 3832270"/>
                <a:gd name="connsiteY8" fmla="*/ 2094689 h 2876136"/>
                <a:gd name="connsiteX9" fmla="*/ 2739710 w 3832270"/>
                <a:gd name="connsiteY9" fmla="*/ 2140969 h 2876136"/>
                <a:gd name="connsiteX10" fmla="*/ 2629166 w 3832270"/>
                <a:gd name="connsiteY10" fmla="*/ 2229867 h 2876136"/>
                <a:gd name="connsiteX11" fmla="*/ 2145952 w 3832270"/>
                <a:gd name="connsiteY11" fmla="*/ 2535994 h 2876136"/>
                <a:gd name="connsiteX12" fmla="*/ 1034987 w 3832270"/>
                <a:gd name="connsiteY12" fmla="*/ 2863910 h 2876136"/>
                <a:gd name="connsiteX13" fmla="*/ 741909 w 3832270"/>
                <a:gd name="connsiteY13" fmla="*/ 2875939 h 2876136"/>
                <a:gd name="connsiteX14" fmla="*/ 450208 w 3832270"/>
                <a:gd name="connsiteY14" fmla="*/ 2857451 h 2876136"/>
                <a:gd name="connsiteX15" fmla="*/ 22215 w 3832270"/>
                <a:gd name="connsiteY15" fmla="*/ 2775923 h 2876136"/>
                <a:gd name="connsiteX16" fmla="*/ 0 w 3832270"/>
                <a:gd name="connsiteY16" fmla="*/ 2769256 h 2876136"/>
                <a:gd name="connsiteX17" fmla="*/ 0 w 3832270"/>
                <a:gd name="connsiteY17" fmla="*/ 2590612 h 2876136"/>
                <a:gd name="connsiteX18" fmla="*/ 199046 w 3832270"/>
                <a:gd name="connsiteY18" fmla="*/ 2627410 h 2876136"/>
                <a:gd name="connsiteX19" fmla="*/ 468174 w 3832270"/>
                <a:gd name="connsiteY19" fmla="*/ 2649670 h 2876136"/>
                <a:gd name="connsiteX20" fmla="*/ 1003650 w 3832270"/>
                <a:gd name="connsiteY20" fmla="*/ 2622480 h 2876136"/>
                <a:gd name="connsiteX21" fmla="*/ 1266489 w 3832270"/>
                <a:gd name="connsiteY21" fmla="*/ 2573982 h 2876136"/>
                <a:gd name="connsiteX22" fmla="*/ 1524223 w 3832270"/>
                <a:gd name="connsiteY22" fmla="*/ 2504657 h 2876136"/>
                <a:gd name="connsiteX23" fmla="*/ 1775731 w 3832270"/>
                <a:gd name="connsiteY23" fmla="*/ 2416243 h 2876136"/>
                <a:gd name="connsiteX24" fmla="*/ 2019789 w 3832270"/>
                <a:gd name="connsiteY24" fmla="*/ 2309412 h 2876136"/>
                <a:gd name="connsiteX25" fmla="*/ 2482486 w 3832270"/>
                <a:gd name="connsiteY25" fmla="*/ 2046962 h 2876136"/>
                <a:gd name="connsiteX26" fmla="*/ 2591908 w 3832270"/>
                <a:gd name="connsiteY26" fmla="*/ 1971371 h 2876136"/>
                <a:gd name="connsiteX27" fmla="*/ 2645702 w 3832270"/>
                <a:gd name="connsiteY27" fmla="*/ 1932321 h 2876136"/>
                <a:gd name="connsiteX28" fmla="*/ 2698779 w 3832270"/>
                <a:gd name="connsiteY28" fmla="*/ 1892309 h 2876136"/>
                <a:gd name="connsiteX29" fmla="*/ 2903537 w 3832270"/>
                <a:gd name="connsiteY29" fmla="*/ 1722516 h 2876136"/>
                <a:gd name="connsiteX30" fmla="*/ 3269061 w 3832270"/>
                <a:gd name="connsiteY30" fmla="*/ 1337327 h 2876136"/>
                <a:gd name="connsiteX31" fmla="*/ 3424928 w 3832270"/>
                <a:gd name="connsiteY31" fmla="*/ 1122508 h 2876136"/>
                <a:gd name="connsiteX32" fmla="*/ 3557622 w 3832270"/>
                <a:gd name="connsiteY32" fmla="*/ 893226 h 2876136"/>
                <a:gd name="connsiteX33" fmla="*/ 3587019 w 3832270"/>
                <a:gd name="connsiteY33" fmla="*/ 833929 h 2876136"/>
                <a:gd name="connsiteX34" fmla="*/ 3601310 w 3832270"/>
                <a:gd name="connsiteY34" fmla="*/ 804040 h 2876136"/>
                <a:gd name="connsiteX35" fmla="*/ 3614885 w 3832270"/>
                <a:gd name="connsiteY35" fmla="*/ 773861 h 2876136"/>
                <a:gd name="connsiteX36" fmla="*/ 3640812 w 3832270"/>
                <a:gd name="connsiteY36" fmla="*/ 713022 h 2876136"/>
                <a:gd name="connsiteX37" fmla="*/ 3665105 w 3832270"/>
                <a:gd name="connsiteY37" fmla="*/ 651506 h 2876136"/>
                <a:gd name="connsiteX38" fmla="*/ 3744110 w 3832270"/>
                <a:gd name="connsiteY38" fmla="*/ 399567 h 2876136"/>
                <a:gd name="connsiteX39" fmla="*/ 3792123 w 3832270"/>
                <a:gd name="connsiteY39" fmla="*/ 140444 h 2876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832270" h="2876136">
                  <a:moveTo>
                    <a:pt x="3800718" y="0"/>
                  </a:moveTo>
                  <a:lnTo>
                    <a:pt x="3832270" y="0"/>
                  </a:lnTo>
                  <a:lnTo>
                    <a:pt x="3824562" y="143769"/>
                  </a:lnTo>
                  <a:cubicBezTo>
                    <a:pt x="3797131" y="409191"/>
                    <a:pt x="3730585" y="671345"/>
                    <a:pt x="3628155" y="922055"/>
                  </a:cubicBezTo>
                  <a:cubicBezTo>
                    <a:pt x="3593858" y="1005553"/>
                    <a:pt x="3556704" y="1088280"/>
                    <a:pt x="3514853" y="1169078"/>
                  </a:cubicBezTo>
                  <a:cubicBezTo>
                    <a:pt x="3473616" y="1250166"/>
                    <a:pt x="3428194" y="1329517"/>
                    <a:pt x="3379198" y="1407037"/>
                  </a:cubicBezTo>
                  <a:cubicBezTo>
                    <a:pt x="3281106" y="1561980"/>
                    <a:pt x="3169132" y="1710174"/>
                    <a:pt x="3043787" y="1848342"/>
                  </a:cubicBezTo>
                  <a:cubicBezTo>
                    <a:pt x="2980806" y="1917184"/>
                    <a:pt x="2915071" y="1984001"/>
                    <a:pt x="2845661" y="2047444"/>
                  </a:cubicBezTo>
                  <a:cubicBezTo>
                    <a:pt x="2828411" y="2063450"/>
                    <a:pt x="2811060" y="2079263"/>
                    <a:pt x="2793197" y="2094689"/>
                  </a:cubicBezTo>
                  <a:cubicBezTo>
                    <a:pt x="2775436" y="2110213"/>
                    <a:pt x="2757982" y="2126025"/>
                    <a:pt x="2739710" y="2140969"/>
                  </a:cubicBezTo>
                  <a:cubicBezTo>
                    <a:pt x="2703576" y="2171341"/>
                    <a:pt x="2666524" y="2200749"/>
                    <a:pt x="2629166" y="2229867"/>
                  </a:cubicBezTo>
                  <a:cubicBezTo>
                    <a:pt x="2479015" y="2345569"/>
                    <a:pt x="2316821" y="2448061"/>
                    <a:pt x="2145952" y="2535994"/>
                  </a:cubicBezTo>
                  <a:cubicBezTo>
                    <a:pt x="1804312" y="2711957"/>
                    <a:pt x="1424600" y="2826982"/>
                    <a:pt x="1034987" y="2863910"/>
                  </a:cubicBezTo>
                  <a:cubicBezTo>
                    <a:pt x="937762" y="2873167"/>
                    <a:pt x="839720" y="2877096"/>
                    <a:pt x="741909" y="2875939"/>
                  </a:cubicBezTo>
                  <a:cubicBezTo>
                    <a:pt x="644097" y="2874782"/>
                    <a:pt x="546515" y="2868539"/>
                    <a:pt x="450208" y="2857451"/>
                  </a:cubicBezTo>
                  <a:cubicBezTo>
                    <a:pt x="305520" y="2840674"/>
                    <a:pt x="162095" y="2813810"/>
                    <a:pt x="22215" y="2775923"/>
                  </a:cubicBezTo>
                  <a:lnTo>
                    <a:pt x="0" y="2769256"/>
                  </a:lnTo>
                  <a:lnTo>
                    <a:pt x="0" y="2590612"/>
                  </a:lnTo>
                  <a:lnTo>
                    <a:pt x="199046" y="2627410"/>
                  </a:lnTo>
                  <a:cubicBezTo>
                    <a:pt x="288321" y="2639209"/>
                    <a:pt x="378197" y="2646537"/>
                    <a:pt x="468174" y="2649670"/>
                  </a:cubicBezTo>
                  <a:cubicBezTo>
                    <a:pt x="648333" y="2656805"/>
                    <a:pt x="826655" y="2647163"/>
                    <a:pt x="1003650" y="2622480"/>
                  </a:cubicBezTo>
                  <a:cubicBezTo>
                    <a:pt x="1091943" y="2609658"/>
                    <a:pt x="1179725" y="2593747"/>
                    <a:pt x="1266489" y="2573982"/>
                  </a:cubicBezTo>
                  <a:cubicBezTo>
                    <a:pt x="1353250" y="2553927"/>
                    <a:pt x="1439298" y="2531076"/>
                    <a:pt x="1524223" y="2504657"/>
                  </a:cubicBezTo>
                  <a:cubicBezTo>
                    <a:pt x="1609149" y="2478336"/>
                    <a:pt x="1693052" y="2448833"/>
                    <a:pt x="1775731" y="2416243"/>
                  </a:cubicBezTo>
                  <a:cubicBezTo>
                    <a:pt x="1858309" y="2383557"/>
                    <a:pt x="1939764" y="2347882"/>
                    <a:pt x="2019789" y="2309412"/>
                  </a:cubicBezTo>
                  <a:cubicBezTo>
                    <a:pt x="2179839" y="2232567"/>
                    <a:pt x="2334583" y="2144923"/>
                    <a:pt x="2482486" y="2046962"/>
                  </a:cubicBezTo>
                  <a:cubicBezTo>
                    <a:pt x="2519334" y="2022376"/>
                    <a:pt x="2556081" y="1997403"/>
                    <a:pt x="2591908" y="1971371"/>
                  </a:cubicBezTo>
                  <a:cubicBezTo>
                    <a:pt x="2610077" y="1958644"/>
                    <a:pt x="2627838" y="1945434"/>
                    <a:pt x="2645702" y="1932321"/>
                  </a:cubicBezTo>
                  <a:cubicBezTo>
                    <a:pt x="2663666" y="1919305"/>
                    <a:pt x="2681325" y="1905903"/>
                    <a:pt x="2698779" y="1892309"/>
                  </a:cubicBezTo>
                  <a:cubicBezTo>
                    <a:pt x="2768903" y="1838025"/>
                    <a:pt x="2837496" y="1781717"/>
                    <a:pt x="2903537" y="1722516"/>
                  </a:cubicBezTo>
                  <a:cubicBezTo>
                    <a:pt x="3035926" y="1604501"/>
                    <a:pt x="3158720" y="1475784"/>
                    <a:pt x="3269061" y="1337327"/>
                  </a:cubicBezTo>
                  <a:cubicBezTo>
                    <a:pt x="3324182" y="1268099"/>
                    <a:pt x="3376341" y="1196461"/>
                    <a:pt x="3424928" y="1122508"/>
                  </a:cubicBezTo>
                  <a:cubicBezTo>
                    <a:pt x="3472697" y="1048170"/>
                    <a:pt x="3517814" y="972000"/>
                    <a:pt x="3557622" y="893226"/>
                  </a:cubicBezTo>
                  <a:cubicBezTo>
                    <a:pt x="3567931" y="873654"/>
                    <a:pt x="3577526" y="853791"/>
                    <a:pt x="3587019" y="833929"/>
                  </a:cubicBezTo>
                  <a:lnTo>
                    <a:pt x="3601310" y="804040"/>
                  </a:lnTo>
                  <a:lnTo>
                    <a:pt x="3614885" y="773861"/>
                  </a:lnTo>
                  <a:cubicBezTo>
                    <a:pt x="3623766" y="753709"/>
                    <a:pt x="3632748" y="733559"/>
                    <a:pt x="3640812" y="713022"/>
                  </a:cubicBezTo>
                  <a:cubicBezTo>
                    <a:pt x="3648876" y="692485"/>
                    <a:pt x="3657756" y="672236"/>
                    <a:pt x="3665105" y="651506"/>
                  </a:cubicBezTo>
                  <a:cubicBezTo>
                    <a:pt x="3696544" y="569166"/>
                    <a:pt x="3723185" y="485089"/>
                    <a:pt x="3744110" y="399567"/>
                  </a:cubicBezTo>
                  <a:cubicBezTo>
                    <a:pt x="3765341" y="314238"/>
                    <a:pt x="3781392" y="227654"/>
                    <a:pt x="3792123" y="140444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32" name="תמונה 31">
            <a:extLst>
              <a:ext uri="{FF2B5EF4-FFF2-40B4-BE49-F238E27FC236}">
                <a16:creationId xmlns:a16="http://schemas.microsoft.com/office/drawing/2014/main" id="{402FEAE7-E8D1-3A41-BF67-A62A731E86A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31665" y="133024"/>
            <a:ext cx="1346204" cy="1346203"/>
          </a:xfrm>
          <a:prstGeom prst="rect">
            <a:avLst/>
          </a:prstGeom>
        </p:spPr>
      </p:pic>
      <p:sp>
        <p:nvSpPr>
          <p:cNvPr id="4" name="תיבת טקסט 3">
            <a:extLst>
              <a:ext uri="{FF2B5EF4-FFF2-40B4-BE49-F238E27FC236}">
                <a16:creationId xmlns:a16="http://schemas.microsoft.com/office/drawing/2014/main" id="{F3C80984-A6FE-6D41-A7E7-64170BFB9C6F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132434" y="1163849"/>
            <a:ext cx="5165811" cy="5213890"/>
          </a:xfrm>
          <a:prstGeom prst="rect">
            <a:avLst/>
          </a:prstGeom>
        </p:spPr>
        <p:txBody>
          <a:bodyPr rtlCol="1" anchor="ctr">
            <a:normAutofit lnSpcReduction="10000"/>
          </a:bodyPr>
          <a:lstStyle/>
          <a:p>
            <a:pPr algn="just">
              <a:spcAft>
                <a:spcPts val="300"/>
              </a:spcAft>
            </a:pPr>
            <a:r>
              <a:rPr lang="he-IL" sz="3200" b="1" dirty="0">
                <a:ln w="3175">
                  <a:solidFill>
                    <a:srgbClr val="969FAA"/>
                  </a:solidFill>
                  <a:prstDash val="solid"/>
                </a:ln>
                <a:solidFill>
                  <a:srgbClr val="292B29"/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מערכת זו מיועדת לניהול מחסן ומכירות של חברה המספקת ציוד שיפוצים ובנייה.</a:t>
            </a:r>
            <a:endParaRPr lang="en-US" sz="3200" b="1" dirty="0">
              <a:ln w="3175">
                <a:solidFill>
                  <a:srgbClr val="969FAA"/>
                </a:solidFill>
                <a:prstDash val="solid"/>
              </a:ln>
              <a:solidFill>
                <a:srgbClr val="292B29"/>
              </a:solidFill>
              <a:latin typeface="David" panose="020E0502060401010101" pitchFamily="34" charset="-79"/>
              <a:cs typeface="David" panose="020E0502060401010101" pitchFamily="34" charset="-79"/>
            </a:endParaRPr>
          </a:p>
          <a:p>
            <a:pPr algn="just">
              <a:spcAft>
                <a:spcPts val="300"/>
              </a:spcAft>
            </a:pPr>
            <a:endParaRPr lang="he-IL" sz="3200" b="1" dirty="0">
              <a:ln w="3175">
                <a:solidFill>
                  <a:srgbClr val="969FAA"/>
                </a:solidFill>
                <a:prstDash val="solid"/>
              </a:ln>
              <a:solidFill>
                <a:srgbClr val="292B29"/>
              </a:solidFill>
              <a:latin typeface="David" panose="020E0502060401010101" pitchFamily="34" charset="-79"/>
              <a:cs typeface="David" panose="020E0502060401010101" pitchFamily="34" charset="-79"/>
            </a:endParaRPr>
          </a:p>
          <a:p>
            <a:pPr algn="just">
              <a:spcAft>
                <a:spcPts val="300"/>
              </a:spcAft>
            </a:pPr>
            <a:r>
              <a:rPr lang="he-IL" sz="3200" b="1" dirty="0">
                <a:ln w="3175">
                  <a:solidFill>
                    <a:srgbClr val="969FAA"/>
                  </a:solidFill>
                  <a:prstDash val="solid"/>
                </a:ln>
                <a:solidFill>
                  <a:srgbClr val="292B29"/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המערכת באה להחליף מערכת קיימת שכבר איננה מתאימה לצורכי החברה.</a:t>
            </a:r>
          </a:p>
          <a:p>
            <a:pPr algn="just">
              <a:spcAft>
                <a:spcPts val="300"/>
              </a:spcAft>
            </a:pPr>
            <a:br>
              <a:rPr lang="he-IL" sz="3200" b="1" dirty="0">
                <a:ln w="3175">
                  <a:solidFill>
                    <a:srgbClr val="969FAA"/>
                  </a:solidFill>
                  <a:prstDash val="solid"/>
                </a:ln>
                <a:solidFill>
                  <a:srgbClr val="292B29"/>
                </a:solidFill>
                <a:latin typeface="David" panose="020E0502060401010101" pitchFamily="34" charset="-79"/>
                <a:cs typeface="David" panose="020E0502060401010101" pitchFamily="34" charset="-79"/>
              </a:rPr>
            </a:br>
            <a:r>
              <a:rPr lang="he-IL" sz="3200" b="1" dirty="0">
                <a:ln w="3175">
                  <a:solidFill>
                    <a:srgbClr val="969FAA"/>
                  </a:solidFill>
                  <a:prstDash val="solid"/>
                </a:ln>
                <a:solidFill>
                  <a:srgbClr val="292B29"/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המערכת נתמכת גם באתר אינטרנט ייעודי שאליו ניתן להתחבר מחוץ לחברה.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C78D9229-E61D-4FEE-8321-2F8B64A8CA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 rot="5400000" flipH="1">
            <a:off x="10186037" y="4852038"/>
            <a:ext cx="2151670" cy="1860256"/>
            <a:chOff x="-305" y="-4155"/>
            <a:chExt cx="2514948" cy="2174333"/>
          </a:xfrm>
        </p:grpSpPr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1FDD3CCB-26A3-4D79-AEB6-7A60CF980DC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14948" cy="2170178"/>
            </a:xfrm>
            <a:custGeom>
              <a:avLst/>
              <a:gdLst>
                <a:gd name="connsiteX0" fmla="*/ 2466091 w 2514948"/>
                <a:gd name="connsiteY0" fmla="*/ 0 h 2170178"/>
                <a:gd name="connsiteX1" fmla="*/ 2514948 w 2514948"/>
                <a:gd name="connsiteY1" fmla="*/ 0 h 2170178"/>
                <a:gd name="connsiteX2" fmla="*/ 2512286 w 2514948"/>
                <a:gd name="connsiteY2" fmla="*/ 12375 h 2170178"/>
                <a:gd name="connsiteX3" fmla="*/ 2394961 w 2514948"/>
                <a:gd name="connsiteY3" fmla="*/ 368660 h 2170178"/>
                <a:gd name="connsiteX4" fmla="*/ 2289734 w 2514948"/>
                <a:gd name="connsiteY4" fmla="*/ 598078 h 2170178"/>
                <a:gd name="connsiteX5" fmla="*/ 2163747 w 2514948"/>
                <a:gd name="connsiteY5" fmla="*/ 819078 h 2170178"/>
                <a:gd name="connsiteX6" fmla="*/ 1852241 w 2514948"/>
                <a:gd name="connsiteY6" fmla="*/ 1228932 h 2170178"/>
                <a:gd name="connsiteX7" fmla="*/ 1668235 w 2514948"/>
                <a:gd name="connsiteY7" fmla="*/ 1413844 h 2170178"/>
                <a:gd name="connsiteX8" fmla="*/ 1619510 w 2514948"/>
                <a:gd name="connsiteY8" fmla="*/ 1457722 h 2170178"/>
                <a:gd name="connsiteX9" fmla="*/ 1569835 w 2514948"/>
                <a:gd name="connsiteY9" fmla="*/ 1500704 h 2170178"/>
                <a:gd name="connsiteX10" fmla="*/ 1467169 w 2514948"/>
                <a:gd name="connsiteY10" fmla="*/ 1583266 h 2170178"/>
                <a:gd name="connsiteX11" fmla="*/ 1018393 w 2514948"/>
                <a:gd name="connsiteY11" fmla="*/ 1867576 h 2170178"/>
                <a:gd name="connsiteX12" fmla="*/ 255857 w 2514948"/>
                <a:gd name="connsiteY12" fmla="*/ 2133049 h 2170178"/>
                <a:gd name="connsiteX13" fmla="*/ 0 w 2514948"/>
                <a:gd name="connsiteY13" fmla="*/ 2170178 h 2170178"/>
                <a:gd name="connsiteX14" fmla="*/ 0 w 2514948"/>
                <a:gd name="connsiteY14" fmla="*/ 1940056 h 2170178"/>
                <a:gd name="connsiteX15" fmla="*/ 201609 w 2514948"/>
                <a:gd name="connsiteY15" fmla="*/ 1902856 h 2170178"/>
                <a:gd name="connsiteX16" fmla="*/ 440974 w 2514948"/>
                <a:gd name="connsiteY16" fmla="*/ 1838472 h 2170178"/>
                <a:gd name="connsiteX17" fmla="*/ 674558 w 2514948"/>
                <a:gd name="connsiteY17" fmla="*/ 1756359 h 2170178"/>
                <a:gd name="connsiteX18" fmla="*/ 901222 w 2514948"/>
                <a:gd name="connsiteY18" fmla="*/ 1657142 h 2170178"/>
                <a:gd name="connsiteX19" fmla="*/ 1330943 w 2514948"/>
                <a:gd name="connsiteY19" fmla="*/ 1413396 h 2170178"/>
                <a:gd name="connsiteX20" fmla="*/ 1432566 w 2514948"/>
                <a:gd name="connsiteY20" fmla="*/ 1343193 h 2170178"/>
                <a:gd name="connsiteX21" fmla="*/ 1482527 w 2514948"/>
                <a:gd name="connsiteY21" fmla="*/ 1306926 h 2170178"/>
                <a:gd name="connsiteX22" fmla="*/ 1531821 w 2514948"/>
                <a:gd name="connsiteY22" fmla="*/ 1269765 h 2170178"/>
                <a:gd name="connsiteX23" fmla="*/ 1721986 w 2514948"/>
                <a:gd name="connsiteY23" fmla="*/ 1112073 h 2170178"/>
                <a:gd name="connsiteX24" fmla="*/ 2061460 w 2514948"/>
                <a:gd name="connsiteY24" fmla="*/ 754336 h 2170178"/>
                <a:gd name="connsiteX25" fmla="*/ 2206218 w 2514948"/>
                <a:gd name="connsiteY25" fmla="*/ 554827 h 2170178"/>
                <a:gd name="connsiteX26" fmla="*/ 2329455 w 2514948"/>
                <a:gd name="connsiteY26" fmla="*/ 341886 h 2170178"/>
                <a:gd name="connsiteX27" fmla="*/ 2356757 w 2514948"/>
                <a:gd name="connsiteY27" fmla="*/ 286815 h 2170178"/>
                <a:gd name="connsiteX28" fmla="*/ 2370030 w 2514948"/>
                <a:gd name="connsiteY28" fmla="*/ 259056 h 2170178"/>
                <a:gd name="connsiteX29" fmla="*/ 2382637 w 2514948"/>
                <a:gd name="connsiteY29" fmla="*/ 231028 h 2170178"/>
                <a:gd name="connsiteX30" fmla="*/ 2406716 w 2514948"/>
                <a:gd name="connsiteY30" fmla="*/ 174525 h 2170178"/>
                <a:gd name="connsiteX31" fmla="*/ 2429278 w 2514948"/>
                <a:gd name="connsiteY31" fmla="*/ 117393 h 2170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514948" h="2170178">
                  <a:moveTo>
                    <a:pt x="2466091" y="0"/>
                  </a:moveTo>
                  <a:lnTo>
                    <a:pt x="2514948" y="0"/>
                  </a:lnTo>
                  <a:lnTo>
                    <a:pt x="2512286" y="12375"/>
                  </a:lnTo>
                  <a:cubicBezTo>
                    <a:pt x="2481760" y="133161"/>
                    <a:pt x="2442526" y="252239"/>
                    <a:pt x="2394961" y="368660"/>
                  </a:cubicBezTo>
                  <a:cubicBezTo>
                    <a:pt x="2363109" y="446208"/>
                    <a:pt x="2328603" y="523039"/>
                    <a:pt x="2289734" y="598078"/>
                  </a:cubicBezTo>
                  <a:cubicBezTo>
                    <a:pt x="2251436" y="673387"/>
                    <a:pt x="2209251" y="747083"/>
                    <a:pt x="2163747" y="819078"/>
                  </a:cubicBezTo>
                  <a:cubicBezTo>
                    <a:pt x="2072646" y="962979"/>
                    <a:pt x="1968652" y="1100611"/>
                    <a:pt x="1852241" y="1228932"/>
                  </a:cubicBezTo>
                  <a:cubicBezTo>
                    <a:pt x="1793748" y="1292868"/>
                    <a:pt x="1732698" y="1354923"/>
                    <a:pt x="1668235" y="1413844"/>
                  </a:cubicBezTo>
                  <a:cubicBezTo>
                    <a:pt x="1652214" y="1428709"/>
                    <a:pt x="1636100" y="1443395"/>
                    <a:pt x="1619510" y="1457722"/>
                  </a:cubicBezTo>
                  <a:cubicBezTo>
                    <a:pt x="1603015" y="1472140"/>
                    <a:pt x="1586805" y="1486825"/>
                    <a:pt x="1569835" y="1500704"/>
                  </a:cubicBezTo>
                  <a:cubicBezTo>
                    <a:pt x="1536276" y="1528911"/>
                    <a:pt x="1501865" y="1556223"/>
                    <a:pt x="1467169" y="1583266"/>
                  </a:cubicBezTo>
                  <a:cubicBezTo>
                    <a:pt x="1327719" y="1690722"/>
                    <a:pt x="1177085" y="1785910"/>
                    <a:pt x="1018393" y="1867576"/>
                  </a:cubicBezTo>
                  <a:cubicBezTo>
                    <a:pt x="780425" y="1990142"/>
                    <a:pt x="522567" y="2080875"/>
                    <a:pt x="255857" y="2133049"/>
                  </a:cubicBezTo>
                  <a:lnTo>
                    <a:pt x="0" y="2170178"/>
                  </a:lnTo>
                  <a:lnTo>
                    <a:pt x="0" y="1940056"/>
                  </a:lnTo>
                  <a:lnTo>
                    <a:pt x="201609" y="1902856"/>
                  </a:lnTo>
                  <a:cubicBezTo>
                    <a:pt x="282186" y="1884231"/>
                    <a:pt x="362102" y="1863008"/>
                    <a:pt x="440974" y="1838472"/>
                  </a:cubicBezTo>
                  <a:cubicBezTo>
                    <a:pt x="519848" y="1814027"/>
                    <a:pt x="597771" y="1786627"/>
                    <a:pt x="674558" y="1756359"/>
                  </a:cubicBezTo>
                  <a:cubicBezTo>
                    <a:pt x="751250" y="1726003"/>
                    <a:pt x="826900" y="1692870"/>
                    <a:pt x="901222" y="1657142"/>
                  </a:cubicBezTo>
                  <a:cubicBezTo>
                    <a:pt x="1049865" y="1585774"/>
                    <a:pt x="1193581" y="1504376"/>
                    <a:pt x="1330943" y="1413396"/>
                  </a:cubicBezTo>
                  <a:cubicBezTo>
                    <a:pt x="1365165" y="1390563"/>
                    <a:pt x="1399293" y="1367370"/>
                    <a:pt x="1432566" y="1343193"/>
                  </a:cubicBezTo>
                  <a:cubicBezTo>
                    <a:pt x="1449441" y="1331373"/>
                    <a:pt x="1465936" y="1319104"/>
                    <a:pt x="1482527" y="1306926"/>
                  </a:cubicBezTo>
                  <a:cubicBezTo>
                    <a:pt x="1499210" y="1294837"/>
                    <a:pt x="1515611" y="1282391"/>
                    <a:pt x="1531821" y="1269765"/>
                  </a:cubicBezTo>
                  <a:cubicBezTo>
                    <a:pt x="1596947" y="1219350"/>
                    <a:pt x="1660652" y="1167055"/>
                    <a:pt x="1721986" y="1112073"/>
                  </a:cubicBezTo>
                  <a:cubicBezTo>
                    <a:pt x="1844940" y="1002469"/>
                    <a:pt x="1958983" y="882926"/>
                    <a:pt x="2061460" y="754336"/>
                  </a:cubicBezTo>
                  <a:cubicBezTo>
                    <a:pt x="2112652" y="690042"/>
                    <a:pt x="2161094" y="623510"/>
                    <a:pt x="2206218" y="554827"/>
                  </a:cubicBezTo>
                  <a:cubicBezTo>
                    <a:pt x="2250583" y="485787"/>
                    <a:pt x="2292484" y="415046"/>
                    <a:pt x="2329455" y="341886"/>
                  </a:cubicBezTo>
                  <a:cubicBezTo>
                    <a:pt x="2339030" y="323709"/>
                    <a:pt x="2347941" y="305261"/>
                    <a:pt x="2356757" y="286815"/>
                  </a:cubicBezTo>
                  <a:lnTo>
                    <a:pt x="2370030" y="259056"/>
                  </a:lnTo>
                  <a:lnTo>
                    <a:pt x="2382637" y="231028"/>
                  </a:lnTo>
                  <a:cubicBezTo>
                    <a:pt x="2390885" y="212312"/>
                    <a:pt x="2399227" y="193598"/>
                    <a:pt x="2406716" y="174525"/>
                  </a:cubicBezTo>
                  <a:cubicBezTo>
                    <a:pt x="2414206" y="155452"/>
                    <a:pt x="2422453" y="136646"/>
                    <a:pt x="2429278" y="11739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E9AC4470-5113-4709-B29F-CDB937F2545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-4155"/>
              <a:ext cx="2493062" cy="1947896"/>
            </a:xfrm>
            <a:custGeom>
              <a:avLst/>
              <a:gdLst>
                <a:gd name="connsiteX0" fmla="*/ 1896911 w 2493062"/>
                <a:gd name="connsiteY0" fmla="*/ 0 h 1947896"/>
                <a:gd name="connsiteX1" fmla="*/ 2493062 w 2493062"/>
                <a:gd name="connsiteY1" fmla="*/ 0 h 1947896"/>
                <a:gd name="connsiteX2" fmla="*/ 2435315 w 2493062"/>
                <a:gd name="connsiteY2" fmla="*/ 178165 h 1947896"/>
                <a:gd name="connsiteX3" fmla="*/ 93066 w 2493062"/>
                <a:gd name="connsiteY3" fmla="*/ 1935859 h 1947896"/>
                <a:gd name="connsiteX4" fmla="*/ 0 w 2493062"/>
                <a:gd name="connsiteY4" fmla="*/ 1947896 h 1947896"/>
                <a:gd name="connsiteX5" fmla="*/ 0 w 2493062"/>
                <a:gd name="connsiteY5" fmla="*/ 1404756 h 1947896"/>
                <a:gd name="connsiteX6" fmla="*/ 17392 w 2493062"/>
                <a:gd name="connsiteY6" fmla="*/ 1402364 h 1947896"/>
                <a:gd name="connsiteX7" fmla="*/ 464249 w 2493062"/>
                <a:gd name="connsiteY7" fmla="*/ 1281208 h 1947896"/>
                <a:gd name="connsiteX8" fmla="*/ 1260556 w 2493062"/>
                <a:gd name="connsiteY8" fmla="*/ 833835 h 1947896"/>
                <a:gd name="connsiteX9" fmla="*/ 1807924 w 2493062"/>
                <a:gd name="connsiteY9" fmla="*/ 193222 h 1947896"/>
                <a:gd name="connsiteX10" fmla="*/ 1874357 w 2493062"/>
                <a:gd name="connsiteY10" fmla="*/ 58333 h 1947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3062" h="1947896">
                  <a:moveTo>
                    <a:pt x="1896911" y="0"/>
                  </a:moveTo>
                  <a:lnTo>
                    <a:pt x="2493062" y="0"/>
                  </a:lnTo>
                  <a:lnTo>
                    <a:pt x="2435315" y="178165"/>
                  </a:lnTo>
                  <a:cubicBezTo>
                    <a:pt x="2088122" y="1071812"/>
                    <a:pt x="1129732" y="1758033"/>
                    <a:pt x="93066" y="1935859"/>
                  </a:cubicBezTo>
                  <a:lnTo>
                    <a:pt x="0" y="1947896"/>
                  </a:lnTo>
                  <a:lnTo>
                    <a:pt x="0" y="1404756"/>
                  </a:lnTo>
                  <a:lnTo>
                    <a:pt x="17392" y="1402364"/>
                  </a:lnTo>
                  <a:cubicBezTo>
                    <a:pt x="167719" y="1375030"/>
                    <a:pt x="318070" y="1334398"/>
                    <a:pt x="464249" y="1281208"/>
                  </a:cubicBezTo>
                  <a:cubicBezTo>
                    <a:pt x="753480" y="1176081"/>
                    <a:pt x="1028869" y="1021346"/>
                    <a:pt x="1260556" y="833835"/>
                  </a:cubicBezTo>
                  <a:cubicBezTo>
                    <a:pt x="1491960" y="646594"/>
                    <a:pt x="1681177" y="425056"/>
                    <a:pt x="1807924" y="193222"/>
                  </a:cubicBezTo>
                  <a:cubicBezTo>
                    <a:pt x="1832328" y="148578"/>
                    <a:pt x="1854477" y="103599"/>
                    <a:pt x="1874357" y="5833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3E0D146C-9DAB-421E-AE88-5F854BF3F7E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01089" cy="1972702"/>
            </a:xfrm>
            <a:custGeom>
              <a:avLst/>
              <a:gdLst>
                <a:gd name="connsiteX0" fmla="*/ 2318728 w 2501089"/>
                <a:gd name="connsiteY0" fmla="*/ 0 h 1972702"/>
                <a:gd name="connsiteX1" fmla="*/ 2501089 w 2501089"/>
                <a:gd name="connsiteY1" fmla="*/ 0 h 1972702"/>
                <a:gd name="connsiteX2" fmla="*/ 2453909 w 2501089"/>
                <a:gd name="connsiteY2" fmla="*/ 167837 h 1972702"/>
                <a:gd name="connsiteX3" fmla="*/ 2361125 w 2501089"/>
                <a:gd name="connsiteY3" fmla="*/ 392084 h 1972702"/>
                <a:gd name="connsiteX4" fmla="*/ 1768255 w 2501089"/>
                <a:gd name="connsiteY4" fmla="*/ 1167644 h 1972702"/>
                <a:gd name="connsiteX5" fmla="*/ 1375125 w 2501089"/>
                <a:gd name="connsiteY5" fmla="*/ 1471474 h 1972702"/>
                <a:gd name="connsiteX6" fmla="*/ 935735 w 2501089"/>
                <a:gd name="connsiteY6" fmla="*/ 1712713 h 1972702"/>
                <a:gd name="connsiteX7" fmla="*/ 212353 w 2501089"/>
                <a:gd name="connsiteY7" fmla="*/ 1940294 h 1972702"/>
                <a:gd name="connsiteX8" fmla="*/ 0 w 2501089"/>
                <a:gd name="connsiteY8" fmla="*/ 1972702 h 1972702"/>
                <a:gd name="connsiteX9" fmla="*/ 0 w 2501089"/>
                <a:gd name="connsiteY9" fmla="*/ 1732181 h 1972702"/>
                <a:gd name="connsiteX10" fmla="*/ 161195 w 2501089"/>
                <a:gd name="connsiteY10" fmla="*/ 1706590 h 1972702"/>
                <a:gd name="connsiteX11" fmla="*/ 388463 w 2501089"/>
                <a:gd name="connsiteY11" fmla="*/ 1652268 h 1972702"/>
                <a:gd name="connsiteX12" fmla="*/ 826716 w 2501089"/>
                <a:gd name="connsiteY12" fmla="*/ 1493950 h 1972702"/>
                <a:gd name="connsiteX13" fmla="*/ 1609847 w 2501089"/>
                <a:gd name="connsiteY13" fmla="*/ 1007535 h 1972702"/>
                <a:gd name="connsiteX14" fmla="*/ 1929982 w 2501089"/>
                <a:gd name="connsiteY14" fmla="*/ 682930 h 1972702"/>
                <a:gd name="connsiteX15" fmla="*/ 2183093 w 2501089"/>
                <a:gd name="connsiteY15" fmla="*/ 310149 h 1972702"/>
                <a:gd name="connsiteX16" fmla="*/ 2280286 w 2501089"/>
                <a:gd name="connsiteY16" fmla="*/ 108435 h 1972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01089" h="1972702">
                  <a:moveTo>
                    <a:pt x="2318728" y="0"/>
                  </a:moveTo>
                  <a:lnTo>
                    <a:pt x="2501089" y="0"/>
                  </a:lnTo>
                  <a:lnTo>
                    <a:pt x="2453909" y="167837"/>
                  </a:lnTo>
                  <a:cubicBezTo>
                    <a:pt x="2427555" y="244153"/>
                    <a:pt x="2396627" y="319103"/>
                    <a:pt x="2361125" y="392084"/>
                  </a:cubicBezTo>
                  <a:cubicBezTo>
                    <a:pt x="2218453" y="684005"/>
                    <a:pt x="2011698" y="945211"/>
                    <a:pt x="1768255" y="1167644"/>
                  </a:cubicBezTo>
                  <a:cubicBezTo>
                    <a:pt x="1646250" y="1278860"/>
                    <a:pt x="1514385" y="1380316"/>
                    <a:pt x="1375125" y="1471474"/>
                  </a:cubicBezTo>
                  <a:cubicBezTo>
                    <a:pt x="1235677" y="1562542"/>
                    <a:pt x="1088928" y="1643672"/>
                    <a:pt x="935735" y="1712713"/>
                  </a:cubicBezTo>
                  <a:cubicBezTo>
                    <a:pt x="705659" y="1815533"/>
                    <a:pt x="462359" y="1892212"/>
                    <a:pt x="212353" y="1940294"/>
                  </a:cubicBezTo>
                  <a:lnTo>
                    <a:pt x="0" y="1972702"/>
                  </a:lnTo>
                  <a:lnTo>
                    <a:pt x="0" y="1732181"/>
                  </a:lnTo>
                  <a:lnTo>
                    <a:pt x="161195" y="1706590"/>
                  </a:lnTo>
                  <a:cubicBezTo>
                    <a:pt x="237638" y="1691378"/>
                    <a:pt x="313477" y="1673222"/>
                    <a:pt x="388463" y="1652268"/>
                  </a:cubicBezTo>
                  <a:cubicBezTo>
                    <a:pt x="538529" y="1610539"/>
                    <a:pt x="684898" y="1556543"/>
                    <a:pt x="826716" y="1493950"/>
                  </a:cubicBezTo>
                  <a:cubicBezTo>
                    <a:pt x="1111207" y="1370107"/>
                    <a:pt x="1376832" y="1205881"/>
                    <a:pt x="1609847" y="1007535"/>
                  </a:cubicBezTo>
                  <a:cubicBezTo>
                    <a:pt x="1725975" y="908049"/>
                    <a:pt x="1833571" y="799519"/>
                    <a:pt x="1929982" y="682930"/>
                  </a:cubicBezTo>
                  <a:cubicBezTo>
                    <a:pt x="2026581" y="566520"/>
                    <a:pt x="2111806" y="441692"/>
                    <a:pt x="2183093" y="310149"/>
                  </a:cubicBezTo>
                  <a:cubicBezTo>
                    <a:pt x="2218738" y="244422"/>
                    <a:pt x="2251396" y="177150"/>
                    <a:pt x="2280286" y="10843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80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2EB32A5-4408-4F6C-84B2-F9A908237A6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1"/>
              <a:ext cx="2491105" cy="1943661"/>
            </a:xfrm>
            <a:custGeom>
              <a:avLst/>
              <a:gdLst>
                <a:gd name="connsiteX0" fmla="*/ 1995408 w 2491105"/>
                <a:gd name="connsiteY0" fmla="*/ 0 h 1943661"/>
                <a:gd name="connsiteX1" fmla="*/ 2491105 w 2491105"/>
                <a:gd name="connsiteY1" fmla="*/ 0 h 1943661"/>
                <a:gd name="connsiteX2" fmla="*/ 2434705 w 2491105"/>
                <a:gd name="connsiteY2" fmla="*/ 174009 h 1943661"/>
                <a:gd name="connsiteX3" fmla="*/ 92457 w 2491105"/>
                <a:gd name="connsiteY3" fmla="*/ 1931703 h 1943661"/>
                <a:gd name="connsiteX4" fmla="*/ 0 w 2491105"/>
                <a:gd name="connsiteY4" fmla="*/ 1943661 h 1943661"/>
                <a:gd name="connsiteX5" fmla="*/ 0 w 2491105"/>
                <a:gd name="connsiteY5" fmla="*/ 1491489 h 1943661"/>
                <a:gd name="connsiteX6" fmla="*/ 34107 w 2491105"/>
                <a:gd name="connsiteY6" fmla="*/ 1486836 h 1943661"/>
                <a:gd name="connsiteX7" fmla="*/ 497577 w 2491105"/>
                <a:gd name="connsiteY7" fmla="*/ 1360598 h 1943661"/>
                <a:gd name="connsiteX8" fmla="*/ 1321566 w 2491105"/>
                <a:gd name="connsiteY8" fmla="*/ 897645 h 1943661"/>
                <a:gd name="connsiteX9" fmla="*/ 1891495 w 2491105"/>
                <a:gd name="connsiteY9" fmla="*/ 230078 h 1943661"/>
                <a:gd name="connsiteX10" fmla="*/ 1961469 w 2491105"/>
                <a:gd name="connsiteY10" fmla="*/ 87885 h 1943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1105" h="1943661">
                  <a:moveTo>
                    <a:pt x="1995408" y="0"/>
                  </a:moveTo>
                  <a:lnTo>
                    <a:pt x="2491105" y="0"/>
                  </a:lnTo>
                  <a:lnTo>
                    <a:pt x="2434705" y="174009"/>
                  </a:lnTo>
                  <a:cubicBezTo>
                    <a:pt x="2087512" y="1067655"/>
                    <a:pt x="1129122" y="1753877"/>
                    <a:pt x="92457" y="1931703"/>
                  </a:cubicBezTo>
                  <a:lnTo>
                    <a:pt x="0" y="1943661"/>
                  </a:lnTo>
                  <a:lnTo>
                    <a:pt x="0" y="1491489"/>
                  </a:lnTo>
                  <a:lnTo>
                    <a:pt x="34107" y="1486836"/>
                  </a:lnTo>
                  <a:cubicBezTo>
                    <a:pt x="189055" y="1458696"/>
                    <a:pt x="343908" y="1416565"/>
                    <a:pt x="497577" y="1360598"/>
                  </a:cubicBezTo>
                  <a:cubicBezTo>
                    <a:pt x="796856" y="1251889"/>
                    <a:pt x="1081725" y="1091781"/>
                    <a:pt x="1321566" y="897645"/>
                  </a:cubicBezTo>
                  <a:cubicBezTo>
                    <a:pt x="1565577" y="700195"/>
                    <a:pt x="1757355" y="475523"/>
                    <a:pt x="1891495" y="230078"/>
                  </a:cubicBezTo>
                  <a:cubicBezTo>
                    <a:pt x="1917197" y="183033"/>
                    <a:pt x="1940526" y="135619"/>
                    <a:pt x="1961469" y="8788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2050" name="Picture 2" descr="Top 10 Meeting Logistics PowerPoint Presentation Templates in 2025">
            <a:extLst>
              <a:ext uri="{FF2B5EF4-FFF2-40B4-BE49-F238E27FC236}">
                <a16:creationId xmlns:a16="http://schemas.microsoft.com/office/drawing/2014/main" id="{A2242E27-2322-F7F8-4052-6AE1039AD25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10">
            <a:alphaModFix amt="8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448" t="5758" r="8634" b="5758"/>
          <a:stretch/>
        </p:blipFill>
        <p:spPr bwMode="auto">
          <a:xfrm>
            <a:off x="12312" y="2588755"/>
            <a:ext cx="2730888" cy="427901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1">
            <a:hlinkClick r:id="" action="ppaction://media"/>
            <a:extLst>
              <a:ext uri="{FF2B5EF4-FFF2-40B4-BE49-F238E27FC236}">
                <a16:creationId xmlns:a16="http://schemas.microsoft.com/office/drawing/2014/main" id="{B79E7699-3207-1472-406E-818B987201D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1482725" y="7312025"/>
            <a:ext cx="609600" cy="609600"/>
          </a:xfrm>
          <a:prstGeom prst="rect">
            <a:avLst/>
          </a:prstGeom>
        </p:spPr>
      </p:pic>
      <p:pic>
        <p:nvPicPr>
          <p:cNvPr id="6" name="1">
            <a:hlinkClick r:id="" action="ppaction://media"/>
            <a:extLst>
              <a:ext uri="{FF2B5EF4-FFF2-40B4-BE49-F238E27FC236}">
                <a16:creationId xmlns:a16="http://schemas.microsoft.com/office/drawing/2014/main" id="{31B7D4DC-97B4-A216-0212-9840B6EADD0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415925" y="7407275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8974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24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4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7000"/>
                                  </p:iterate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2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8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19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20" dur="16874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21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  <p:audio>
              <p:cMediaNode vol="80000">
                <p:cTn id="22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  <p:video>
              <p:cMediaNode vol="80000">
                <p:cTn id="23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  <p:bldLst>
      <p:bldP spid="12" grpId="0"/>
      <p:bldP spid="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43000">
              <a:srgbClr val="F7F6F6"/>
            </a:gs>
            <a:gs pos="100000">
              <a:srgbClr val="D7D7D0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Warehouse shelves filled with boxes, and four numbered red circles with captions on the right white area.">
            <a:extLst>
              <a:ext uri="{FF2B5EF4-FFF2-40B4-BE49-F238E27FC236}">
                <a16:creationId xmlns:a16="http://schemas.microsoft.com/office/drawing/2014/main" id="{A4065E65-891F-7E85-74D0-955C575EA8B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10">
            <a:clrChange>
              <a:clrFrom>
                <a:srgbClr val="BBC3C5"/>
              </a:clrFrom>
              <a:clrTo>
                <a:srgbClr val="BBC3C5">
                  <a:alpha val="0"/>
                </a:srgbClr>
              </a:clrTo>
            </a:clrChange>
            <a:alphaModFix amt="6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3500"/>
          <a:stretch/>
        </p:blipFill>
        <p:spPr bwMode="auto">
          <a:xfrm>
            <a:off x="248753" y="292099"/>
            <a:ext cx="5251631" cy="635277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 fov="1200000">
              <a:rot lat="20864504" lon="328927" rev="21333205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5181601" y="101325"/>
            <a:ext cx="7375938" cy="987017"/>
          </a:xfrm>
          <a:prstGeom prst="rect">
            <a:avLst/>
          </a:prstGeom>
        </p:spPr>
        <p:txBody>
          <a:bodyPr rtlCol="1" anchor="b">
            <a:prstTxWarp prst="textArchDown">
              <a:avLst/>
            </a:prstTxWarp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800">
                <a:ln w="31750">
                  <a:solidFill>
                    <a:srgbClr val="002060"/>
                  </a:solidFill>
                </a:ln>
                <a:solidFill>
                  <a:schemeClr val="tx2"/>
                </a:solidFill>
              </a:defRPr>
            </a:lvl1pPr>
          </a:lstStyle>
          <a:p>
            <a:r>
              <a:rPr lang="he-IL" dirty="0">
                <a:ln w="12700">
                  <a:solidFill>
                    <a:srgbClr val="444346"/>
                  </a:solidFill>
                </a:ln>
                <a:solidFill>
                  <a:srgbClr val="4D4E51"/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משתמשי מערכת </a:t>
            </a:r>
          </a:p>
        </p:txBody>
      </p:sp>
      <p:pic>
        <p:nvPicPr>
          <p:cNvPr id="13" name="תמונה 12">
            <a:extLst>
              <a:ext uri="{FF2B5EF4-FFF2-40B4-BE49-F238E27FC236}">
                <a16:creationId xmlns:a16="http://schemas.microsoft.com/office/drawing/2014/main" id="{9047320F-E11A-E74E-AFD0-A599CC08744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710622" y="4289321"/>
            <a:ext cx="1760740" cy="1554242"/>
          </a:xfrm>
          <a:prstGeom prst="rect">
            <a:avLst/>
          </a:prstGeom>
        </p:spPr>
      </p:pic>
      <p:pic>
        <p:nvPicPr>
          <p:cNvPr id="24" name="תמונה 23">
            <a:extLst>
              <a:ext uri="{FF2B5EF4-FFF2-40B4-BE49-F238E27FC236}">
                <a16:creationId xmlns:a16="http://schemas.microsoft.com/office/drawing/2014/main" id="{F967DA53-9B93-8B42-B0AB-1CA09D2E0ED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093111" y="1473301"/>
            <a:ext cx="1501750" cy="1709061"/>
          </a:xfrm>
          <a:prstGeom prst="rect">
            <a:avLst/>
          </a:prstGeom>
        </p:spPr>
      </p:pic>
      <p:sp>
        <p:nvSpPr>
          <p:cNvPr id="3" name="תיבת טקסט 2">
            <a:extLst>
              <a:ext uri="{FF2B5EF4-FFF2-40B4-BE49-F238E27FC236}">
                <a16:creationId xmlns:a16="http://schemas.microsoft.com/office/drawing/2014/main" id="{D0D574C9-2E97-E949-886A-021FA8380357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9559351" y="3090876"/>
            <a:ext cx="2264062" cy="476445"/>
          </a:xfrm>
          <a:prstGeom prst="rect">
            <a:avLst/>
          </a:prstGeom>
        </p:spPr>
        <p:txBody>
          <a:bodyPr spcFirstLastPara="1" numCol="1" rtlCol="1" anchor="b">
            <a:prstTxWarp prst="textArchDown">
              <a:avLst/>
            </a:prstTxWarp>
            <a:normAutofit fontScale="62500" lnSpcReduction="20000"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800">
                <a:ln w="12700">
                  <a:solidFill>
                    <a:srgbClr val="444346"/>
                  </a:solidFill>
                </a:ln>
                <a:solidFill>
                  <a:srgbClr val="4D4E51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spc="300" dirty="0">
                <a:solidFill>
                  <a:srgbClr val="7D5D49"/>
                </a:solidFill>
              </a:rPr>
              <a:t>אדמיניסטרטור</a:t>
            </a:r>
            <a:endParaRPr lang="en-US" spc="300" dirty="0">
              <a:solidFill>
                <a:srgbClr val="7D5D49"/>
              </a:solidFill>
            </a:endParaRPr>
          </a:p>
          <a:p>
            <a:endParaRPr lang="he-IL" spc="300" dirty="0">
              <a:solidFill>
                <a:srgbClr val="7D5D49"/>
              </a:solidFill>
            </a:endParaRPr>
          </a:p>
        </p:txBody>
      </p:sp>
      <p:sp>
        <p:nvSpPr>
          <p:cNvPr id="15" name="תיבת טקסט 14">
            <a:extLst>
              <a:ext uri="{FF2B5EF4-FFF2-40B4-BE49-F238E27FC236}">
                <a16:creationId xmlns:a16="http://schemas.microsoft.com/office/drawing/2014/main" id="{74252DE8-C744-7C49-BFD8-C01B9C866D19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9559351" y="5873734"/>
            <a:ext cx="2264062" cy="476445"/>
          </a:xfrm>
          <a:prstGeom prst="rect">
            <a:avLst/>
          </a:prstGeom>
        </p:spPr>
        <p:txBody>
          <a:bodyPr spcFirstLastPara="1" numCol="1" rtlCol="1" anchor="b">
            <a:prstTxWarp prst="textArchDown">
              <a:avLst/>
            </a:prstTxWarp>
            <a:normAutofit fontScale="62500" lnSpcReduction="20000"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300">
                <a:ln w="12700">
                  <a:solidFill>
                    <a:srgbClr val="444346"/>
                  </a:solidFill>
                </a:ln>
                <a:solidFill>
                  <a:srgbClr val="4D4E51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dirty="0">
                <a:solidFill>
                  <a:srgbClr val="7D5D49"/>
                </a:solidFill>
              </a:rPr>
              <a:t>אנשי מכירות </a:t>
            </a:r>
            <a:endParaRPr lang="en-US" dirty="0">
              <a:solidFill>
                <a:srgbClr val="7D5D49"/>
              </a:solidFill>
            </a:endParaRPr>
          </a:p>
          <a:p>
            <a:endParaRPr lang="he-IL" dirty="0">
              <a:solidFill>
                <a:srgbClr val="7D5D49"/>
              </a:solidFill>
            </a:endParaRPr>
          </a:p>
        </p:txBody>
      </p:sp>
      <p:pic>
        <p:nvPicPr>
          <p:cNvPr id="8" name="תמונה 7">
            <a:extLst>
              <a:ext uri="{FF2B5EF4-FFF2-40B4-BE49-F238E27FC236}">
                <a16:creationId xmlns:a16="http://schemas.microsoft.com/office/drawing/2014/main" id="{8870506B-8F01-B747-AF68-40587AB6F819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269099" y="4442764"/>
            <a:ext cx="2066124" cy="1281933"/>
          </a:xfrm>
          <a:prstGeom prst="rect">
            <a:avLst/>
          </a:prstGeom>
        </p:spPr>
      </p:pic>
      <p:pic>
        <p:nvPicPr>
          <p:cNvPr id="16" name="תמונה 15">
            <a:extLst>
              <a:ext uri="{FF2B5EF4-FFF2-40B4-BE49-F238E27FC236}">
                <a16:creationId xmlns:a16="http://schemas.microsoft.com/office/drawing/2014/main" id="{1F9494AC-B410-704D-8FF0-B72A9CB23BB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511079" y="1595120"/>
            <a:ext cx="1582163" cy="1582162"/>
          </a:xfrm>
          <a:prstGeom prst="rect">
            <a:avLst/>
          </a:prstGeom>
        </p:spPr>
      </p:pic>
      <p:sp>
        <p:nvSpPr>
          <p:cNvPr id="17" name="תיבת טקסט 16">
            <a:extLst>
              <a:ext uri="{FF2B5EF4-FFF2-40B4-BE49-F238E27FC236}">
                <a16:creationId xmlns:a16="http://schemas.microsoft.com/office/drawing/2014/main" id="{7555AE68-83DB-D243-90D6-9E85A775F355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096000" y="3133392"/>
            <a:ext cx="2385294" cy="476445"/>
          </a:xfrm>
          <a:prstGeom prst="rect">
            <a:avLst/>
          </a:prstGeom>
        </p:spPr>
        <p:txBody>
          <a:bodyPr spcFirstLastPara="1" numCol="1" rtlCol="1" anchor="b">
            <a:prstTxWarp prst="textArchDown">
              <a:avLst/>
            </a:prstTxWarp>
            <a:normAutofit fontScale="62500" lnSpcReduction="20000"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0">
                <a:ln w="12700">
                  <a:solidFill>
                    <a:srgbClr val="444346"/>
                  </a:solidFill>
                </a:ln>
                <a:solidFill>
                  <a:srgbClr val="4D4E51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spc="300" dirty="0">
                <a:solidFill>
                  <a:srgbClr val="7D5D49"/>
                </a:solidFill>
              </a:rPr>
              <a:t>אנשי המשרד </a:t>
            </a:r>
            <a:endParaRPr lang="en-US" spc="300" dirty="0">
              <a:solidFill>
                <a:srgbClr val="7D5D49"/>
              </a:solidFill>
            </a:endParaRPr>
          </a:p>
          <a:p>
            <a:endParaRPr lang="he-IL" spc="300" dirty="0">
              <a:solidFill>
                <a:srgbClr val="7D5D49"/>
              </a:solidFill>
            </a:endParaRPr>
          </a:p>
        </p:txBody>
      </p:sp>
      <p:sp>
        <p:nvSpPr>
          <p:cNvPr id="18" name="תיבת טקסט 17">
            <a:extLst>
              <a:ext uri="{FF2B5EF4-FFF2-40B4-BE49-F238E27FC236}">
                <a16:creationId xmlns:a16="http://schemas.microsoft.com/office/drawing/2014/main" id="{8C4F3314-FF41-A346-9142-7A526B54673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096000" y="5856778"/>
            <a:ext cx="2385294" cy="476446"/>
          </a:xfrm>
          <a:prstGeom prst="rect">
            <a:avLst/>
          </a:prstGeom>
        </p:spPr>
        <p:txBody>
          <a:bodyPr spcFirstLastPara="1" numCol="1" rtlCol="1" anchor="b">
            <a:prstTxWarp prst="textArchDown">
              <a:avLst/>
            </a:prstTxWarp>
            <a:normAutofit fontScale="62500" lnSpcReduction="20000"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300">
                <a:ln w="12700">
                  <a:solidFill>
                    <a:srgbClr val="444346"/>
                  </a:solidFill>
                </a:ln>
                <a:solidFill>
                  <a:srgbClr val="4D4E51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dirty="0">
                <a:solidFill>
                  <a:srgbClr val="7D5D49"/>
                </a:solidFill>
              </a:rPr>
              <a:t>אנשי משלוחים</a:t>
            </a:r>
            <a:endParaRPr lang="en-US" dirty="0">
              <a:solidFill>
                <a:srgbClr val="7D5D49"/>
              </a:solidFill>
            </a:endParaRPr>
          </a:p>
          <a:p>
            <a:endParaRPr lang="he-IL" dirty="0">
              <a:solidFill>
                <a:srgbClr val="7D5D49"/>
              </a:solidFill>
            </a:endParaRPr>
          </a:p>
        </p:txBody>
      </p:sp>
      <p:pic>
        <p:nvPicPr>
          <p:cNvPr id="2" name="Recording">
            <a:hlinkClick r:id="" action="ppaction://media"/>
            <a:extLst>
              <a:ext uri="{FF2B5EF4-FFF2-40B4-BE49-F238E27FC236}">
                <a16:creationId xmlns:a16="http://schemas.microsoft.com/office/drawing/2014/main" id="{12DF3656-E12D-1E2F-94CF-C020F86A038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2">
                  <p14:trim st="3570" end="1595.9791"/>
                </p14:media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1524" y="7092330"/>
            <a:ext cx="531813" cy="531813"/>
          </a:xfrm>
          <a:prstGeom prst="rect">
            <a:avLst/>
          </a:prstGeom>
        </p:spPr>
      </p:pic>
      <p:pic>
        <p:nvPicPr>
          <p:cNvPr id="4" name="Recording">
            <a:hlinkClick r:id="" action="ppaction://media"/>
            <a:extLst>
              <a:ext uri="{FF2B5EF4-FFF2-40B4-BE49-F238E27FC236}">
                <a16:creationId xmlns:a16="http://schemas.microsoft.com/office/drawing/2014/main" id="{3A63582B-DB12-81B2-6B66-D2D70BDE11A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3">
                  <p14:trim st="2460" end="410.9791"/>
                </p14:media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2304351" y="7074692"/>
            <a:ext cx="531813" cy="531813"/>
          </a:xfrm>
          <a:prstGeom prst="rect">
            <a:avLst/>
          </a:prstGeom>
        </p:spPr>
      </p:pic>
      <p:pic>
        <p:nvPicPr>
          <p:cNvPr id="5" name="Recording">
            <a:hlinkClick r:id="" action="ppaction://media"/>
            <a:extLst>
              <a:ext uri="{FF2B5EF4-FFF2-40B4-BE49-F238E27FC236}">
                <a16:creationId xmlns:a16="http://schemas.microsoft.com/office/drawing/2014/main" id="{72A7A3A1-20DC-3B6D-82FD-60148B32083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4">
                  <p14:trim st="1226" end="870.3125"/>
                </p14:media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956628" y="7074693"/>
            <a:ext cx="531812" cy="531813"/>
          </a:xfrm>
          <a:prstGeom prst="rect">
            <a:avLst/>
          </a:prstGeom>
        </p:spPr>
      </p:pic>
      <p:pic>
        <p:nvPicPr>
          <p:cNvPr id="6" name="Recording">
            <a:hlinkClick r:id="" action="ppaction://media"/>
            <a:extLst>
              <a:ext uri="{FF2B5EF4-FFF2-40B4-BE49-F238E27FC236}">
                <a16:creationId xmlns:a16="http://schemas.microsoft.com/office/drawing/2014/main" id="{E5DCC9A1-AEFA-2E1E-958D-F7575D5C3D4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5">
                  <p14:trim st="2260" end="519.6458"/>
                </p14:media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3541568" y="7092330"/>
            <a:ext cx="531813" cy="531813"/>
          </a:xfrm>
          <a:prstGeom prst="rect">
            <a:avLst/>
          </a:prstGeom>
        </p:spPr>
      </p:pic>
      <p:pic>
        <p:nvPicPr>
          <p:cNvPr id="7" name="Recording">
            <a:hlinkClick r:id="" action="ppaction://media"/>
            <a:extLst>
              <a:ext uri="{FF2B5EF4-FFF2-40B4-BE49-F238E27FC236}">
                <a16:creationId xmlns:a16="http://schemas.microsoft.com/office/drawing/2014/main" id="{53EE4A1A-7D12-E014-D7B8-B07504EEE2D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6">
                  <p14:trim st="2827" end="1095.6458"/>
                </p14:media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4558637" y="7117975"/>
            <a:ext cx="531813" cy="531813"/>
          </a:xfrm>
          <a:prstGeom prst="rect">
            <a:avLst/>
          </a:prstGeom>
        </p:spPr>
      </p:pic>
      <p:pic>
        <p:nvPicPr>
          <p:cNvPr id="9" name="Luna">
            <a:hlinkClick r:id="" action="ppaction://media"/>
            <a:extLst>
              <a:ext uri="{FF2B5EF4-FFF2-40B4-BE49-F238E27FC236}">
                <a16:creationId xmlns:a16="http://schemas.microsoft.com/office/drawing/2014/main" id="{B2603771-B947-BEA9-3A9C-9056621418A5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videoFile r:link="rId8"/>
            <p:extLst>
              <p:ext uri="{DAA4B4D4-6D71-4841-9C94-3DE7FCFB9230}">
                <p14:media xmlns:p14="http://schemas.microsoft.com/office/powerpoint/2010/main" r:embed="rId7"/>
              </p:ext>
            </p:extLst>
          </p:nvPr>
        </p:nvPicPr>
        <p:blipFill>
          <a:blip r:embed="rId16"/>
          <a:srcRect t="26078" b="17570"/>
          <a:stretch/>
        </p:blipFill>
        <p:spPr>
          <a:xfrm flipH="1">
            <a:off x="1562115" y="3219013"/>
            <a:ext cx="3331585" cy="3337638"/>
          </a:xfrm>
          <a:prstGeom prst="roundRect">
            <a:avLst>
              <a:gd name="adj" fmla="val 5783"/>
            </a:avLst>
          </a:prstGeom>
          <a:ln>
            <a:noFill/>
          </a:ln>
          <a:effectLst/>
          <a:scene3d>
            <a:camera prst="perspectiveRelaxed" fov="3600000">
              <a:rot lat="21000000" lon="1140000" rev="21240000"/>
            </a:camera>
            <a:lightRig rig="twoPt" dir="t">
              <a:rot lat="0" lon="0" rev="10200000"/>
            </a:lightRig>
          </a:scene3d>
          <a:sp3d contourW="6350">
            <a:bevelT w="165100" h="31750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1275897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1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" presetClass="mediacall" presetSubtype="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cmd type="call" cmd="playFrom(0.0)">
                                      <p:cBhvr>
                                        <p:cTn id="12" dur="181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311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36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iterate type="lt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" presetClass="mediacall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cmd type="call" cmd="playFrom(0.0)">
                                      <p:cBhvr>
                                        <p:cTn id="21" dur="1417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27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277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iterate type="lt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" presetClass="mediacall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cmd type="call" cmd="playFrom(0.0)">
                                      <p:cBhvr>
                                        <p:cTn id="30" dur="138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6908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7158"/>
                            </p:stCondLst>
                            <p:childTnLst>
                              <p:par>
                                <p:cTn id="3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" presetClass="mediacall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cmd type="call" cmd="playFrom(0.0)">
                                      <p:cBhvr>
                                        <p:cTn id="39" dur="1423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8831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9081"/>
                            </p:stCondLst>
                            <p:childTnLst>
                              <p:par>
                                <p:cTn id="44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iterate type="lt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" presetClass="mediacall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cmd type="call" cmd="playFrom(0.0)">
                                      <p:cBhvr>
                                        <p:cTn id="48" dur="1368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0699"/>
                            </p:stCondLst>
                            <p:childTnLst>
                              <p:par>
                                <p:cTn id="50" presetID="2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51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52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53" dur="33003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54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  <p:audio>
              <p:cMediaNode vol="80000">
                <p:cTn id="55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  <p:audio>
              <p:cMediaNode vol="80000">
                <p:cTn id="56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  <p:audio>
              <p:cMediaNode vol="80000">
                <p:cTn id="5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  <p:audio>
              <p:cMediaNode vol="80000">
                <p:cTn id="58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  <p:video>
              <p:cMediaNode vol="80000" showWhenStopped="0">
                <p:cTn id="59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</p:childTnLst>
        </p:cTn>
      </p:par>
    </p:tnLst>
    <p:bldLst>
      <p:bldP spid="12" grpId="0"/>
      <p:bldP spid="3" grpId="0"/>
      <p:bldP spid="15" grpId="0"/>
      <p:bldP spid="17" grpId="0"/>
      <p:bldP spid="1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76000">
              <a:srgbClr val="F7F6F6"/>
            </a:gs>
            <a:gs pos="100000">
              <a:srgbClr val="CCC5B5"/>
            </a:gs>
          </a:gsLst>
          <a:lin ang="162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0E91F5CA-B392-444C-88E3-BF5BAAEBDE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50" name="Picture 2" descr="Portrait of a Manager in a Logistics Company - in the Background Stock  Photo - Image of depot, industrial: 112707904">
            <a:extLst>
              <a:ext uri="{FF2B5EF4-FFF2-40B4-BE49-F238E27FC236}">
                <a16:creationId xmlns:a16="http://schemas.microsoft.com/office/drawing/2014/main" id="{26990691-1C61-EF62-7152-E6DA45DAB5D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5678" y="5053789"/>
            <a:ext cx="2607842" cy="1740734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DFCA2118-59A2-4310-A4B2-F2CBA821E8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4940492"/>
            <a:ext cx="12192000" cy="1924333"/>
          </a:xfrm>
          <a:custGeom>
            <a:avLst/>
            <a:gdLst>
              <a:gd name="connsiteX0" fmla="*/ 6189199 w 12192000"/>
              <a:gd name="connsiteY0" fmla="*/ 588 h 1924333"/>
              <a:gd name="connsiteX1" fmla="*/ 6207079 w 12192000"/>
              <a:gd name="connsiteY1" fmla="*/ 2850 h 1924333"/>
              <a:gd name="connsiteX2" fmla="*/ 6285610 w 12192000"/>
              <a:gd name="connsiteY2" fmla="*/ 18131 h 1924333"/>
              <a:gd name="connsiteX3" fmla="*/ 6378008 w 12192000"/>
              <a:gd name="connsiteY3" fmla="*/ 24625 h 1924333"/>
              <a:gd name="connsiteX4" fmla="*/ 6466340 w 12192000"/>
              <a:gd name="connsiteY4" fmla="*/ 21366 h 1924333"/>
              <a:gd name="connsiteX5" fmla="*/ 6553334 w 12192000"/>
              <a:gd name="connsiteY5" fmla="*/ 35307 h 1924333"/>
              <a:gd name="connsiteX6" fmla="*/ 6626068 w 12192000"/>
              <a:gd name="connsiteY6" fmla="*/ 58045 h 1924333"/>
              <a:gd name="connsiteX7" fmla="*/ 6692303 w 12192000"/>
              <a:gd name="connsiteY7" fmla="*/ 91487 h 1924333"/>
              <a:gd name="connsiteX8" fmla="*/ 6733670 w 12192000"/>
              <a:gd name="connsiteY8" fmla="*/ 118130 h 1924333"/>
              <a:gd name="connsiteX9" fmla="*/ 6798016 w 12192000"/>
              <a:gd name="connsiteY9" fmla="*/ 112271 h 1924333"/>
              <a:gd name="connsiteX10" fmla="*/ 6801081 w 12192000"/>
              <a:gd name="connsiteY10" fmla="*/ 114963 h 1924333"/>
              <a:gd name="connsiteX11" fmla="*/ 6819351 w 12192000"/>
              <a:gd name="connsiteY11" fmla="*/ 128825 h 1924333"/>
              <a:gd name="connsiteX12" fmla="*/ 6852732 w 12192000"/>
              <a:gd name="connsiteY12" fmla="*/ 123321 h 1924333"/>
              <a:gd name="connsiteX13" fmla="*/ 6865247 w 12192000"/>
              <a:gd name="connsiteY13" fmla="*/ 128836 h 1924333"/>
              <a:gd name="connsiteX14" fmla="*/ 6905517 w 12192000"/>
              <a:gd name="connsiteY14" fmla="*/ 129265 h 1924333"/>
              <a:gd name="connsiteX15" fmla="*/ 6950286 w 12192000"/>
              <a:gd name="connsiteY15" fmla="*/ 150104 h 1924333"/>
              <a:gd name="connsiteX16" fmla="*/ 7003442 w 12192000"/>
              <a:gd name="connsiteY16" fmla="*/ 136136 h 1924333"/>
              <a:gd name="connsiteX17" fmla="*/ 7160047 w 12192000"/>
              <a:gd name="connsiteY17" fmla="*/ 166721 h 1924333"/>
              <a:gd name="connsiteX18" fmla="*/ 7325604 w 12192000"/>
              <a:gd name="connsiteY18" fmla="*/ 215867 h 1924333"/>
              <a:gd name="connsiteX19" fmla="*/ 7540522 w 12192000"/>
              <a:gd name="connsiteY19" fmla="*/ 239374 h 1924333"/>
              <a:gd name="connsiteX20" fmla="*/ 7612071 w 12192000"/>
              <a:gd name="connsiteY20" fmla="*/ 229553 h 1924333"/>
              <a:gd name="connsiteX21" fmla="*/ 7651995 w 12192000"/>
              <a:gd name="connsiteY21" fmla="*/ 244567 h 1924333"/>
              <a:gd name="connsiteX22" fmla="*/ 7725761 w 12192000"/>
              <a:gd name="connsiteY22" fmla="*/ 258638 h 1924333"/>
              <a:gd name="connsiteX23" fmla="*/ 7823038 w 12192000"/>
              <a:gd name="connsiteY23" fmla="*/ 287078 h 1924333"/>
              <a:gd name="connsiteX24" fmla="*/ 7866405 w 12192000"/>
              <a:gd name="connsiteY24" fmla="*/ 287288 h 1924333"/>
              <a:gd name="connsiteX25" fmla="*/ 7875021 w 12192000"/>
              <a:gd name="connsiteY25" fmla="*/ 288224 h 1924333"/>
              <a:gd name="connsiteX26" fmla="*/ 7875146 w 12192000"/>
              <a:gd name="connsiteY26" fmla="*/ 288614 h 1924333"/>
              <a:gd name="connsiteX27" fmla="*/ 7907443 w 12192000"/>
              <a:gd name="connsiteY27" fmla="*/ 291752 h 1924333"/>
              <a:gd name="connsiteX28" fmla="*/ 7912892 w 12192000"/>
              <a:gd name="connsiteY28" fmla="*/ 294833 h 1924333"/>
              <a:gd name="connsiteX29" fmla="*/ 7946345 w 12192000"/>
              <a:gd name="connsiteY29" fmla="*/ 319359 h 1924333"/>
              <a:gd name="connsiteX30" fmla="*/ 8021238 w 12192000"/>
              <a:gd name="connsiteY30" fmla="*/ 315159 h 1924333"/>
              <a:gd name="connsiteX31" fmla="*/ 8094697 w 12192000"/>
              <a:gd name="connsiteY31" fmla="*/ 351819 h 1924333"/>
              <a:gd name="connsiteX32" fmla="*/ 8155208 w 12192000"/>
              <a:gd name="connsiteY32" fmla="*/ 371168 h 1924333"/>
              <a:gd name="connsiteX33" fmla="*/ 8248472 w 12192000"/>
              <a:gd name="connsiteY33" fmla="*/ 400489 h 1924333"/>
              <a:gd name="connsiteX34" fmla="*/ 8300068 w 12192000"/>
              <a:gd name="connsiteY34" fmla="*/ 405531 h 1924333"/>
              <a:gd name="connsiteX35" fmla="*/ 8356293 w 12192000"/>
              <a:gd name="connsiteY35" fmla="*/ 403328 h 1924333"/>
              <a:gd name="connsiteX36" fmla="*/ 8475838 w 12192000"/>
              <a:gd name="connsiteY36" fmla="*/ 435524 h 1924333"/>
              <a:gd name="connsiteX37" fmla="*/ 8575216 w 12192000"/>
              <a:gd name="connsiteY37" fmla="*/ 450198 h 1924333"/>
              <a:gd name="connsiteX38" fmla="*/ 8588650 w 12192000"/>
              <a:gd name="connsiteY38" fmla="*/ 447070 h 1924333"/>
              <a:gd name="connsiteX39" fmla="*/ 8612184 w 12192000"/>
              <a:gd name="connsiteY39" fmla="*/ 439577 h 1924333"/>
              <a:gd name="connsiteX40" fmla="*/ 8630713 w 12192000"/>
              <a:gd name="connsiteY40" fmla="*/ 433015 h 1924333"/>
              <a:gd name="connsiteX41" fmla="*/ 8704240 w 12192000"/>
              <a:gd name="connsiteY41" fmla="*/ 422865 h 1924333"/>
              <a:gd name="connsiteX42" fmla="*/ 8829513 w 12192000"/>
              <a:gd name="connsiteY42" fmla="*/ 429389 h 1924333"/>
              <a:gd name="connsiteX43" fmla="*/ 9083651 w 12192000"/>
              <a:gd name="connsiteY43" fmla="*/ 390744 h 1924333"/>
              <a:gd name="connsiteX44" fmla="*/ 9371402 w 12192000"/>
              <a:gd name="connsiteY44" fmla="*/ 371809 h 1924333"/>
              <a:gd name="connsiteX45" fmla="*/ 9429586 w 12192000"/>
              <a:gd name="connsiteY45" fmla="*/ 369213 h 1924333"/>
              <a:gd name="connsiteX46" fmla="*/ 9489757 w 12192000"/>
              <a:gd name="connsiteY46" fmla="*/ 377814 h 1924333"/>
              <a:gd name="connsiteX47" fmla="*/ 9516954 w 12192000"/>
              <a:gd name="connsiteY47" fmla="*/ 376991 h 1924333"/>
              <a:gd name="connsiteX48" fmla="*/ 9645588 w 12192000"/>
              <a:gd name="connsiteY48" fmla="*/ 363590 h 1924333"/>
              <a:gd name="connsiteX49" fmla="*/ 9722896 w 12192000"/>
              <a:gd name="connsiteY49" fmla="*/ 360983 h 1924333"/>
              <a:gd name="connsiteX50" fmla="*/ 9752803 w 12192000"/>
              <a:gd name="connsiteY50" fmla="*/ 368492 h 1924333"/>
              <a:gd name="connsiteX51" fmla="*/ 9890305 w 12192000"/>
              <a:gd name="connsiteY51" fmla="*/ 380736 h 1924333"/>
              <a:gd name="connsiteX52" fmla="*/ 9939767 w 12192000"/>
              <a:gd name="connsiteY52" fmla="*/ 377776 h 1924333"/>
              <a:gd name="connsiteX53" fmla="*/ 9944355 w 12192000"/>
              <a:gd name="connsiteY53" fmla="*/ 377352 h 1924333"/>
              <a:gd name="connsiteX54" fmla="*/ 9953719 w 12192000"/>
              <a:gd name="connsiteY54" fmla="*/ 375642 h 1924333"/>
              <a:gd name="connsiteX55" fmla="*/ 9955809 w 12192000"/>
              <a:gd name="connsiteY55" fmla="*/ 376294 h 1924333"/>
              <a:gd name="connsiteX56" fmla="*/ 10032710 w 12192000"/>
              <a:gd name="connsiteY56" fmla="*/ 394940 h 1924333"/>
              <a:gd name="connsiteX57" fmla="*/ 10049925 w 12192000"/>
              <a:gd name="connsiteY57" fmla="*/ 404971 h 1924333"/>
              <a:gd name="connsiteX58" fmla="*/ 10112671 w 12192000"/>
              <a:gd name="connsiteY58" fmla="*/ 414549 h 1924333"/>
              <a:gd name="connsiteX59" fmla="*/ 10170853 w 12192000"/>
              <a:gd name="connsiteY59" fmla="*/ 435168 h 1924333"/>
              <a:gd name="connsiteX60" fmla="*/ 10290184 w 12192000"/>
              <a:gd name="connsiteY60" fmla="*/ 448123 h 1924333"/>
              <a:gd name="connsiteX61" fmla="*/ 10320158 w 12192000"/>
              <a:gd name="connsiteY61" fmla="*/ 458352 h 1924333"/>
              <a:gd name="connsiteX62" fmla="*/ 10321815 w 12192000"/>
              <a:gd name="connsiteY62" fmla="*/ 463087 h 1924333"/>
              <a:gd name="connsiteX63" fmla="*/ 10373742 w 12192000"/>
              <a:gd name="connsiteY63" fmla="*/ 464538 h 1924333"/>
              <a:gd name="connsiteX64" fmla="*/ 10428532 w 12192000"/>
              <a:gd name="connsiteY64" fmla="*/ 492504 h 1924333"/>
              <a:gd name="connsiteX65" fmla="*/ 10466490 w 12192000"/>
              <a:gd name="connsiteY65" fmla="*/ 517759 h 1924333"/>
              <a:gd name="connsiteX66" fmla="*/ 10466675 w 12192000"/>
              <a:gd name="connsiteY66" fmla="*/ 522076 h 1924333"/>
              <a:gd name="connsiteX67" fmla="*/ 10470309 w 12192000"/>
              <a:gd name="connsiteY67" fmla="*/ 522792 h 1924333"/>
              <a:gd name="connsiteX68" fmla="*/ 10474138 w 12192000"/>
              <a:gd name="connsiteY68" fmla="*/ 519761 h 1924333"/>
              <a:gd name="connsiteX69" fmla="*/ 10501100 w 12192000"/>
              <a:gd name="connsiteY69" fmla="*/ 528263 h 1924333"/>
              <a:gd name="connsiteX70" fmla="*/ 10502395 w 12192000"/>
              <a:gd name="connsiteY70" fmla="*/ 536393 h 1924333"/>
              <a:gd name="connsiteX71" fmla="*/ 10689496 w 12192000"/>
              <a:gd name="connsiteY71" fmla="*/ 560233 h 1924333"/>
              <a:gd name="connsiteX72" fmla="*/ 10788736 w 12192000"/>
              <a:gd name="connsiteY72" fmla="*/ 613188 h 1924333"/>
              <a:gd name="connsiteX73" fmla="*/ 10819747 w 12192000"/>
              <a:gd name="connsiteY73" fmla="*/ 621351 h 1924333"/>
              <a:gd name="connsiteX74" fmla="*/ 10864632 w 12192000"/>
              <a:gd name="connsiteY74" fmla="*/ 644858 h 1924333"/>
              <a:gd name="connsiteX75" fmla="*/ 10929407 w 12192000"/>
              <a:gd name="connsiteY75" fmla="*/ 652945 h 1924333"/>
              <a:gd name="connsiteX76" fmla="*/ 10979412 w 12192000"/>
              <a:gd name="connsiteY76" fmla="*/ 654217 h 1924333"/>
              <a:gd name="connsiteX77" fmla="*/ 11006959 w 12192000"/>
              <a:gd name="connsiteY77" fmla="*/ 657017 h 1924333"/>
              <a:gd name="connsiteX78" fmla="*/ 11077038 w 12192000"/>
              <a:gd name="connsiteY78" fmla="*/ 668487 h 1924333"/>
              <a:gd name="connsiteX79" fmla="*/ 11157850 w 12192000"/>
              <a:gd name="connsiteY79" fmla="*/ 693164 h 1924333"/>
              <a:gd name="connsiteX80" fmla="*/ 11175276 w 12192000"/>
              <a:gd name="connsiteY80" fmla="*/ 697243 h 1924333"/>
              <a:gd name="connsiteX81" fmla="*/ 11191131 w 12192000"/>
              <a:gd name="connsiteY81" fmla="*/ 696085 h 1924333"/>
              <a:gd name="connsiteX82" fmla="*/ 11195573 w 12192000"/>
              <a:gd name="connsiteY82" fmla="*/ 691751 h 1924333"/>
              <a:gd name="connsiteX83" fmla="*/ 11205299 w 12192000"/>
              <a:gd name="connsiteY83" fmla="*/ 693247 h 1924333"/>
              <a:gd name="connsiteX84" fmla="*/ 11223770 w 12192000"/>
              <a:gd name="connsiteY84" fmla="*/ 690335 h 1924333"/>
              <a:gd name="connsiteX85" fmla="*/ 11292119 w 12192000"/>
              <a:gd name="connsiteY85" fmla="*/ 713311 h 1924333"/>
              <a:gd name="connsiteX86" fmla="*/ 11435379 w 12192000"/>
              <a:gd name="connsiteY86" fmla="*/ 758519 h 1924333"/>
              <a:gd name="connsiteX87" fmla="*/ 11604406 w 12192000"/>
              <a:gd name="connsiteY87" fmla="*/ 810476 h 1924333"/>
              <a:gd name="connsiteX88" fmla="*/ 11652155 w 12192000"/>
              <a:gd name="connsiteY88" fmla="*/ 825109 h 1924333"/>
              <a:gd name="connsiteX89" fmla="*/ 11654192 w 12192000"/>
              <a:gd name="connsiteY89" fmla="*/ 827301 h 1924333"/>
              <a:gd name="connsiteX90" fmla="*/ 11676599 w 12192000"/>
              <a:gd name="connsiteY90" fmla="*/ 846628 h 1924333"/>
              <a:gd name="connsiteX91" fmla="*/ 11775168 w 12192000"/>
              <a:gd name="connsiteY91" fmla="*/ 890664 h 1924333"/>
              <a:gd name="connsiteX92" fmla="*/ 11826341 w 12192000"/>
              <a:gd name="connsiteY92" fmla="*/ 877558 h 1924333"/>
              <a:gd name="connsiteX93" fmla="*/ 11879068 w 12192000"/>
              <a:gd name="connsiteY93" fmla="*/ 874038 h 1924333"/>
              <a:gd name="connsiteX94" fmla="*/ 11889563 w 12192000"/>
              <a:gd name="connsiteY94" fmla="*/ 878619 h 1924333"/>
              <a:gd name="connsiteX95" fmla="*/ 12016613 w 12192000"/>
              <a:gd name="connsiteY95" fmla="*/ 886111 h 1924333"/>
              <a:gd name="connsiteX96" fmla="*/ 12108292 w 12192000"/>
              <a:gd name="connsiteY96" fmla="*/ 868500 h 1924333"/>
              <a:gd name="connsiteX97" fmla="*/ 12182910 w 12192000"/>
              <a:gd name="connsiteY97" fmla="*/ 882003 h 1924333"/>
              <a:gd name="connsiteX98" fmla="*/ 12192000 w 12192000"/>
              <a:gd name="connsiteY98" fmla="*/ 884778 h 1924333"/>
              <a:gd name="connsiteX99" fmla="*/ 12192000 w 12192000"/>
              <a:gd name="connsiteY99" fmla="*/ 1610315 h 1924333"/>
              <a:gd name="connsiteX100" fmla="*/ 12191998 w 12192000"/>
              <a:gd name="connsiteY100" fmla="*/ 1610315 h 1924333"/>
              <a:gd name="connsiteX101" fmla="*/ 12191998 w 12192000"/>
              <a:gd name="connsiteY101" fmla="*/ 1924333 h 1924333"/>
              <a:gd name="connsiteX102" fmla="*/ 0 w 12192000"/>
              <a:gd name="connsiteY102" fmla="*/ 1924333 h 1924333"/>
              <a:gd name="connsiteX103" fmla="*/ 0 w 12192000"/>
              <a:gd name="connsiteY103" fmla="*/ 505159 h 1924333"/>
              <a:gd name="connsiteX104" fmla="*/ 5722 w 12192000"/>
              <a:gd name="connsiteY104" fmla="*/ 508889 h 1924333"/>
              <a:gd name="connsiteX105" fmla="*/ 38476 w 12192000"/>
              <a:gd name="connsiteY105" fmla="*/ 524137 h 1924333"/>
              <a:gd name="connsiteX106" fmla="*/ 192883 w 12192000"/>
              <a:gd name="connsiteY106" fmla="*/ 545272 h 1924333"/>
              <a:gd name="connsiteX107" fmla="*/ 343710 w 12192000"/>
              <a:gd name="connsiteY107" fmla="*/ 565029 h 1924333"/>
              <a:gd name="connsiteX108" fmla="*/ 471066 w 12192000"/>
              <a:gd name="connsiteY108" fmla="*/ 549837 h 1924333"/>
              <a:gd name="connsiteX109" fmla="*/ 617333 w 12192000"/>
              <a:gd name="connsiteY109" fmla="*/ 526428 h 1924333"/>
              <a:gd name="connsiteX110" fmla="*/ 725203 w 12192000"/>
              <a:gd name="connsiteY110" fmla="*/ 523793 h 1924333"/>
              <a:gd name="connsiteX111" fmla="*/ 788494 w 12192000"/>
              <a:gd name="connsiteY111" fmla="*/ 505799 h 1924333"/>
              <a:gd name="connsiteX112" fmla="*/ 885977 w 12192000"/>
              <a:gd name="connsiteY112" fmla="*/ 526585 h 1924333"/>
              <a:gd name="connsiteX113" fmla="*/ 932142 w 12192000"/>
              <a:gd name="connsiteY113" fmla="*/ 528005 h 1924333"/>
              <a:gd name="connsiteX114" fmla="*/ 1090404 w 12192000"/>
              <a:gd name="connsiteY114" fmla="*/ 498299 h 1924333"/>
              <a:gd name="connsiteX115" fmla="*/ 1188628 w 12192000"/>
              <a:gd name="connsiteY115" fmla="*/ 483151 h 1924333"/>
              <a:gd name="connsiteX116" fmla="*/ 1316247 w 12192000"/>
              <a:gd name="connsiteY116" fmla="*/ 425979 h 1924333"/>
              <a:gd name="connsiteX117" fmla="*/ 1357712 w 12192000"/>
              <a:gd name="connsiteY117" fmla="*/ 416549 h 1924333"/>
              <a:gd name="connsiteX118" fmla="*/ 1425921 w 12192000"/>
              <a:gd name="connsiteY118" fmla="*/ 413953 h 1924333"/>
              <a:gd name="connsiteX119" fmla="*/ 1503817 w 12192000"/>
              <a:gd name="connsiteY119" fmla="*/ 380457 h 1924333"/>
              <a:gd name="connsiteX120" fmla="*/ 1639196 w 12192000"/>
              <a:gd name="connsiteY120" fmla="*/ 372785 h 1924333"/>
              <a:gd name="connsiteX121" fmla="*/ 1705606 w 12192000"/>
              <a:gd name="connsiteY121" fmla="*/ 359023 h 1924333"/>
              <a:gd name="connsiteX122" fmla="*/ 1813011 w 12192000"/>
              <a:gd name="connsiteY122" fmla="*/ 331023 h 1924333"/>
              <a:gd name="connsiteX123" fmla="*/ 1831380 w 12192000"/>
              <a:gd name="connsiteY123" fmla="*/ 341307 h 1924333"/>
              <a:gd name="connsiteX124" fmla="*/ 1858612 w 12192000"/>
              <a:gd name="connsiteY124" fmla="*/ 326777 h 1924333"/>
              <a:gd name="connsiteX125" fmla="*/ 1880661 w 12192000"/>
              <a:gd name="connsiteY125" fmla="*/ 335987 h 1924333"/>
              <a:gd name="connsiteX126" fmla="*/ 1941495 w 12192000"/>
              <a:gd name="connsiteY126" fmla="*/ 310792 h 1924333"/>
              <a:gd name="connsiteX127" fmla="*/ 1995402 w 12192000"/>
              <a:gd name="connsiteY127" fmla="*/ 305480 h 1924333"/>
              <a:gd name="connsiteX128" fmla="*/ 2223864 w 12192000"/>
              <a:gd name="connsiteY128" fmla="*/ 266118 h 1924333"/>
              <a:gd name="connsiteX129" fmla="*/ 2418043 w 12192000"/>
              <a:gd name="connsiteY129" fmla="*/ 215314 h 1924333"/>
              <a:gd name="connsiteX130" fmla="*/ 2558461 w 12192000"/>
              <a:gd name="connsiteY130" fmla="*/ 168193 h 1924333"/>
              <a:gd name="connsiteX131" fmla="*/ 2595535 w 12192000"/>
              <a:gd name="connsiteY131" fmla="*/ 158548 h 1924333"/>
              <a:gd name="connsiteX132" fmla="*/ 2626942 w 12192000"/>
              <a:gd name="connsiteY132" fmla="*/ 130400 h 1924333"/>
              <a:gd name="connsiteX133" fmla="*/ 2632225 w 12192000"/>
              <a:gd name="connsiteY133" fmla="*/ 130446 h 1924333"/>
              <a:gd name="connsiteX134" fmla="*/ 2696856 w 12192000"/>
              <a:gd name="connsiteY134" fmla="*/ 128498 h 1924333"/>
              <a:gd name="connsiteX135" fmla="*/ 2759767 w 12192000"/>
              <a:gd name="connsiteY135" fmla="*/ 127784 h 1924333"/>
              <a:gd name="connsiteX136" fmla="*/ 2792685 w 12192000"/>
              <a:gd name="connsiteY136" fmla="*/ 115710 h 1924333"/>
              <a:gd name="connsiteX137" fmla="*/ 2799767 w 12192000"/>
              <a:gd name="connsiteY137" fmla="*/ 113754 h 1924333"/>
              <a:gd name="connsiteX138" fmla="*/ 2829799 w 12192000"/>
              <a:gd name="connsiteY138" fmla="*/ 120042 h 1924333"/>
              <a:gd name="connsiteX139" fmla="*/ 2890704 w 12192000"/>
              <a:gd name="connsiteY139" fmla="*/ 121493 h 1924333"/>
              <a:gd name="connsiteX140" fmla="*/ 3042646 w 12192000"/>
              <a:gd name="connsiteY140" fmla="*/ 112273 h 1924333"/>
              <a:gd name="connsiteX141" fmla="*/ 3146630 w 12192000"/>
              <a:gd name="connsiteY141" fmla="*/ 100898 h 1924333"/>
              <a:gd name="connsiteX142" fmla="*/ 3233163 w 12192000"/>
              <a:gd name="connsiteY142" fmla="*/ 120200 h 1924333"/>
              <a:gd name="connsiteX143" fmla="*/ 3372699 w 12192000"/>
              <a:gd name="connsiteY143" fmla="*/ 129394 h 1924333"/>
              <a:gd name="connsiteX144" fmla="*/ 3394352 w 12192000"/>
              <a:gd name="connsiteY144" fmla="*/ 131671 h 1924333"/>
              <a:gd name="connsiteX145" fmla="*/ 3448218 w 12192000"/>
              <a:gd name="connsiteY145" fmla="*/ 118229 h 1924333"/>
              <a:gd name="connsiteX146" fmla="*/ 3505047 w 12192000"/>
              <a:gd name="connsiteY146" fmla="*/ 115412 h 1924333"/>
              <a:gd name="connsiteX147" fmla="*/ 3521767 w 12192000"/>
              <a:gd name="connsiteY147" fmla="*/ 111071 h 1924333"/>
              <a:gd name="connsiteX148" fmla="*/ 3585137 w 12192000"/>
              <a:gd name="connsiteY148" fmla="*/ 114371 h 1924333"/>
              <a:gd name="connsiteX149" fmla="*/ 3690293 w 12192000"/>
              <a:gd name="connsiteY149" fmla="*/ 98301 h 1924333"/>
              <a:gd name="connsiteX150" fmla="*/ 3867818 w 12192000"/>
              <a:gd name="connsiteY150" fmla="*/ 88985 h 1924333"/>
              <a:gd name="connsiteX151" fmla="*/ 4091337 w 12192000"/>
              <a:gd name="connsiteY151" fmla="*/ 70813 h 1924333"/>
              <a:gd name="connsiteX152" fmla="*/ 4246332 w 12192000"/>
              <a:gd name="connsiteY152" fmla="*/ 41697 h 1924333"/>
              <a:gd name="connsiteX153" fmla="*/ 4266975 w 12192000"/>
              <a:gd name="connsiteY153" fmla="*/ 46592 h 1924333"/>
              <a:gd name="connsiteX154" fmla="*/ 4270566 w 12192000"/>
              <a:gd name="connsiteY154" fmla="*/ 47620 h 1924333"/>
              <a:gd name="connsiteX155" fmla="*/ 4288964 w 12192000"/>
              <a:gd name="connsiteY155" fmla="*/ 52766 h 1924333"/>
              <a:gd name="connsiteX156" fmla="*/ 4365137 w 12192000"/>
              <a:gd name="connsiteY156" fmla="*/ 51783 h 1924333"/>
              <a:gd name="connsiteX157" fmla="*/ 4430546 w 12192000"/>
              <a:gd name="connsiteY157" fmla="*/ 44555 h 1924333"/>
              <a:gd name="connsiteX158" fmla="*/ 4444136 w 12192000"/>
              <a:gd name="connsiteY158" fmla="*/ 39567 h 1924333"/>
              <a:gd name="connsiteX159" fmla="*/ 4534039 w 12192000"/>
              <a:gd name="connsiteY159" fmla="*/ 31604 h 1924333"/>
              <a:gd name="connsiteX160" fmla="*/ 4560448 w 12192000"/>
              <a:gd name="connsiteY160" fmla="*/ 25231 h 1924333"/>
              <a:gd name="connsiteX161" fmla="*/ 4568006 w 12192000"/>
              <a:gd name="connsiteY161" fmla="*/ 25970 h 1924333"/>
              <a:gd name="connsiteX162" fmla="*/ 4595497 w 12192000"/>
              <a:gd name="connsiteY162" fmla="*/ 22958 h 1924333"/>
              <a:gd name="connsiteX163" fmla="*/ 4608623 w 12192000"/>
              <a:gd name="connsiteY163" fmla="*/ 18108 h 1924333"/>
              <a:gd name="connsiteX164" fmla="*/ 4623942 w 12192000"/>
              <a:gd name="connsiteY164" fmla="*/ 22251 h 1924333"/>
              <a:gd name="connsiteX165" fmla="*/ 4664336 w 12192000"/>
              <a:gd name="connsiteY165" fmla="*/ 23306 h 1924333"/>
              <a:gd name="connsiteX166" fmla="*/ 4677385 w 12192000"/>
              <a:gd name="connsiteY166" fmla="*/ 18246 h 1924333"/>
              <a:gd name="connsiteX167" fmla="*/ 4698143 w 12192000"/>
              <a:gd name="connsiteY167" fmla="*/ 18036 h 1924333"/>
              <a:gd name="connsiteX168" fmla="*/ 4750609 w 12192000"/>
              <a:gd name="connsiteY168" fmla="*/ 23611 h 1924333"/>
              <a:gd name="connsiteX169" fmla="*/ 4784658 w 12192000"/>
              <a:gd name="connsiteY169" fmla="*/ 25057 h 1924333"/>
              <a:gd name="connsiteX170" fmla="*/ 4847558 w 12192000"/>
              <a:gd name="connsiteY170" fmla="*/ 38726 h 1924333"/>
              <a:gd name="connsiteX171" fmla="*/ 4909134 w 12192000"/>
              <a:gd name="connsiteY171" fmla="*/ 50659 h 1924333"/>
              <a:gd name="connsiteX172" fmla="*/ 5099219 w 12192000"/>
              <a:gd name="connsiteY172" fmla="*/ 55050 h 1924333"/>
              <a:gd name="connsiteX173" fmla="*/ 5184992 w 12192000"/>
              <a:gd name="connsiteY173" fmla="*/ 67596 h 1924333"/>
              <a:gd name="connsiteX174" fmla="*/ 5229637 w 12192000"/>
              <a:gd name="connsiteY174" fmla="*/ 67789 h 1924333"/>
              <a:gd name="connsiteX175" fmla="*/ 5389346 w 12192000"/>
              <a:gd name="connsiteY175" fmla="*/ 80211 h 1924333"/>
              <a:gd name="connsiteX176" fmla="*/ 5494414 w 12192000"/>
              <a:gd name="connsiteY176" fmla="*/ 75926 h 1924333"/>
              <a:gd name="connsiteX177" fmla="*/ 5528443 w 12192000"/>
              <a:gd name="connsiteY177" fmla="*/ 77206 h 1924333"/>
              <a:gd name="connsiteX178" fmla="*/ 5684939 w 12192000"/>
              <a:gd name="connsiteY178" fmla="*/ 50269 h 1924333"/>
              <a:gd name="connsiteX179" fmla="*/ 5765146 w 12192000"/>
              <a:gd name="connsiteY179" fmla="*/ 50414 h 1924333"/>
              <a:gd name="connsiteX180" fmla="*/ 5848655 w 12192000"/>
              <a:gd name="connsiteY180" fmla="*/ 35257 h 1924333"/>
              <a:gd name="connsiteX181" fmla="*/ 5930656 w 12192000"/>
              <a:gd name="connsiteY181" fmla="*/ 30131 h 1924333"/>
              <a:gd name="connsiteX182" fmla="*/ 6124150 w 12192000"/>
              <a:gd name="connsiteY182" fmla="*/ 31679 h 1924333"/>
              <a:gd name="connsiteX183" fmla="*/ 6189199 w 12192000"/>
              <a:gd name="connsiteY183" fmla="*/ 588 h 19243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</a:cxnLst>
            <a:rect l="l" t="t" r="r" b="b"/>
            <a:pathLst>
              <a:path w="12192000" h="1924333">
                <a:moveTo>
                  <a:pt x="6189199" y="588"/>
                </a:moveTo>
                <a:cubicBezTo>
                  <a:pt x="6196356" y="-574"/>
                  <a:pt x="6202609" y="-108"/>
                  <a:pt x="6207079" y="2850"/>
                </a:cubicBezTo>
                <a:cubicBezTo>
                  <a:pt x="6222026" y="2749"/>
                  <a:pt x="6273489" y="3767"/>
                  <a:pt x="6285610" y="18131"/>
                </a:cubicBezTo>
                <a:cubicBezTo>
                  <a:pt x="6307255" y="18685"/>
                  <a:pt x="6357141" y="23793"/>
                  <a:pt x="6378008" y="24625"/>
                </a:cubicBezTo>
                <a:cubicBezTo>
                  <a:pt x="6409946" y="30645"/>
                  <a:pt x="6438307" y="10375"/>
                  <a:pt x="6466340" y="21366"/>
                </a:cubicBezTo>
                <a:cubicBezTo>
                  <a:pt x="6488276" y="31229"/>
                  <a:pt x="6529854" y="28110"/>
                  <a:pt x="6553334" y="35307"/>
                </a:cubicBezTo>
                <a:cubicBezTo>
                  <a:pt x="6561737" y="48059"/>
                  <a:pt x="6609188" y="62087"/>
                  <a:pt x="6626068" y="58045"/>
                </a:cubicBezTo>
                <a:cubicBezTo>
                  <a:pt x="6660952" y="66570"/>
                  <a:pt x="6666277" y="84716"/>
                  <a:pt x="6692303" y="91487"/>
                </a:cubicBezTo>
                <a:lnTo>
                  <a:pt x="6733670" y="118130"/>
                </a:lnTo>
                <a:lnTo>
                  <a:pt x="6798016" y="112271"/>
                </a:lnTo>
                <a:lnTo>
                  <a:pt x="6801081" y="114963"/>
                </a:lnTo>
                <a:cubicBezTo>
                  <a:pt x="6806919" y="120140"/>
                  <a:pt x="6812832" y="125016"/>
                  <a:pt x="6819351" y="128825"/>
                </a:cubicBezTo>
                <a:cubicBezTo>
                  <a:pt x="6825742" y="109997"/>
                  <a:pt x="6840132" y="116541"/>
                  <a:pt x="6852732" y="123321"/>
                </a:cubicBezTo>
                <a:lnTo>
                  <a:pt x="6865247" y="128836"/>
                </a:lnTo>
                <a:lnTo>
                  <a:pt x="6905517" y="129265"/>
                </a:lnTo>
                <a:cubicBezTo>
                  <a:pt x="6934052" y="140042"/>
                  <a:pt x="6939773" y="141556"/>
                  <a:pt x="6950286" y="150104"/>
                </a:cubicBezTo>
                <a:lnTo>
                  <a:pt x="7003442" y="136136"/>
                </a:lnTo>
                <a:lnTo>
                  <a:pt x="7160047" y="166721"/>
                </a:lnTo>
                <a:cubicBezTo>
                  <a:pt x="7207281" y="179911"/>
                  <a:pt x="7280644" y="210197"/>
                  <a:pt x="7325604" y="215867"/>
                </a:cubicBezTo>
                <a:cubicBezTo>
                  <a:pt x="7460113" y="233904"/>
                  <a:pt x="7393081" y="242880"/>
                  <a:pt x="7540522" y="239374"/>
                </a:cubicBezTo>
                <a:cubicBezTo>
                  <a:pt x="7545714" y="234872"/>
                  <a:pt x="7605972" y="231727"/>
                  <a:pt x="7612071" y="229553"/>
                </a:cubicBezTo>
                <a:lnTo>
                  <a:pt x="7651995" y="244567"/>
                </a:lnTo>
                <a:lnTo>
                  <a:pt x="7725761" y="258638"/>
                </a:lnTo>
                <a:lnTo>
                  <a:pt x="7823038" y="287078"/>
                </a:lnTo>
                <a:cubicBezTo>
                  <a:pt x="7837080" y="286482"/>
                  <a:pt x="7851647" y="286498"/>
                  <a:pt x="7866405" y="287288"/>
                </a:cubicBezTo>
                <a:lnTo>
                  <a:pt x="7875021" y="288224"/>
                </a:lnTo>
                <a:cubicBezTo>
                  <a:pt x="7875062" y="288354"/>
                  <a:pt x="7875105" y="288483"/>
                  <a:pt x="7875146" y="288614"/>
                </a:cubicBezTo>
                <a:cubicBezTo>
                  <a:pt x="7880550" y="289202"/>
                  <a:pt x="7901153" y="290716"/>
                  <a:pt x="7907443" y="291752"/>
                </a:cubicBezTo>
                <a:lnTo>
                  <a:pt x="7912892" y="294833"/>
                </a:lnTo>
                <a:lnTo>
                  <a:pt x="7946345" y="319359"/>
                </a:lnTo>
                <a:cubicBezTo>
                  <a:pt x="7958657" y="312776"/>
                  <a:pt x="7996513" y="309749"/>
                  <a:pt x="8021238" y="315159"/>
                </a:cubicBezTo>
                <a:cubicBezTo>
                  <a:pt x="8045964" y="320570"/>
                  <a:pt x="8058169" y="340462"/>
                  <a:pt x="8094697" y="351819"/>
                </a:cubicBezTo>
                <a:cubicBezTo>
                  <a:pt x="8129587" y="361154"/>
                  <a:pt x="8116181" y="360544"/>
                  <a:pt x="8155208" y="371168"/>
                </a:cubicBezTo>
                <a:cubicBezTo>
                  <a:pt x="8196217" y="383300"/>
                  <a:pt x="8205468" y="391801"/>
                  <a:pt x="8248472" y="400489"/>
                </a:cubicBezTo>
                <a:cubicBezTo>
                  <a:pt x="8283932" y="419791"/>
                  <a:pt x="8278617" y="392031"/>
                  <a:pt x="8300068" y="405531"/>
                </a:cubicBezTo>
                <a:lnTo>
                  <a:pt x="8356293" y="403328"/>
                </a:lnTo>
                <a:cubicBezTo>
                  <a:pt x="8377247" y="404463"/>
                  <a:pt x="8438442" y="433194"/>
                  <a:pt x="8475838" y="435524"/>
                </a:cubicBezTo>
                <a:cubicBezTo>
                  <a:pt x="8510241" y="438037"/>
                  <a:pt x="8545511" y="449840"/>
                  <a:pt x="8575216" y="450198"/>
                </a:cubicBezTo>
                <a:lnTo>
                  <a:pt x="8588650" y="447070"/>
                </a:lnTo>
                <a:lnTo>
                  <a:pt x="8612184" y="439577"/>
                </a:lnTo>
                <a:lnTo>
                  <a:pt x="8630713" y="433015"/>
                </a:lnTo>
                <a:cubicBezTo>
                  <a:pt x="8635870" y="429519"/>
                  <a:pt x="8700685" y="428411"/>
                  <a:pt x="8704240" y="422865"/>
                </a:cubicBezTo>
                <a:cubicBezTo>
                  <a:pt x="8761777" y="429549"/>
                  <a:pt x="8768302" y="427178"/>
                  <a:pt x="8829513" y="429389"/>
                </a:cubicBezTo>
                <a:cubicBezTo>
                  <a:pt x="8922895" y="444672"/>
                  <a:pt x="8924579" y="401507"/>
                  <a:pt x="9083651" y="390744"/>
                </a:cubicBezTo>
                <a:cubicBezTo>
                  <a:pt x="9138403" y="388032"/>
                  <a:pt x="9315003" y="378647"/>
                  <a:pt x="9371402" y="371809"/>
                </a:cubicBezTo>
                <a:cubicBezTo>
                  <a:pt x="9358632" y="337502"/>
                  <a:pt x="9402842" y="379364"/>
                  <a:pt x="9429586" y="369213"/>
                </a:cubicBezTo>
                <a:cubicBezTo>
                  <a:pt x="9449312" y="370213"/>
                  <a:pt x="9473938" y="373270"/>
                  <a:pt x="9489757" y="377814"/>
                </a:cubicBezTo>
                <a:cubicBezTo>
                  <a:pt x="9498164" y="379256"/>
                  <a:pt x="9507139" y="379272"/>
                  <a:pt x="9516954" y="376991"/>
                </a:cubicBezTo>
                <a:cubicBezTo>
                  <a:pt x="9548430" y="354766"/>
                  <a:pt x="9591874" y="370315"/>
                  <a:pt x="9645588" y="363590"/>
                </a:cubicBezTo>
                <a:cubicBezTo>
                  <a:pt x="9660487" y="368814"/>
                  <a:pt x="9710817" y="350550"/>
                  <a:pt x="9722896" y="360983"/>
                </a:cubicBezTo>
                <a:cubicBezTo>
                  <a:pt x="9733918" y="362239"/>
                  <a:pt x="9745201" y="356679"/>
                  <a:pt x="9752803" y="368492"/>
                </a:cubicBezTo>
                <a:cubicBezTo>
                  <a:pt x="9793268" y="374490"/>
                  <a:pt x="9843313" y="380978"/>
                  <a:pt x="9890305" y="380736"/>
                </a:cubicBezTo>
                <a:cubicBezTo>
                  <a:pt x="9912701" y="380083"/>
                  <a:pt x="9926523" y="379037"/>
                  <a:pt x="9939767" y="377776"/>
                </a:cubicBezTo>
                <a:lnTo>
                  <a:pt x="9944355" y="377352"/>
                </a:lnTo>
                <a:lnTo>
                  <a:pt x="9953719" y="375642"/>
                </a:lnTo>
                <a:lnTo>
                  <a:pt x="9955809" y="376294"/>
                </a:lnTo>
                <a:lnTo>
                  <a:pt x="10032710" y="394940"/>
                </a:lnTo>
                <a:lnTo>
                  <a:pt x="10049925" y="404971"/>
                </a:lnTo>
                <a:lnTo>
                  <a:pt x="10112671" y="414549"/>
                </a:lnTo>
                <a:cubicBezTo>
                  <a:pt x="10169643" y="412125"/>
                  <a:pt x="10132220" y="425358"/>
                  <a:pt x="10170853" y="435168"/>
                </a:cubicBezTo>
                <a:cubicBezTo>
                  <a:pt x="10206088" y="442020"/>
                  <a:pt x="10240809" y="454081"/>
                  <a:pt x="10290184" y="448123"/>
                </a:cubicBezTo>
                <a:cubicBezTo>
                  <a:pt x="10301813" y="444919"/>
                  <a:pt x="10315233" y="449499"/>
                  <a:pt x="10320158" y="458352"/>
                </a:cubicBezTo>
                <a:cubicBezTo>
                  <a:pt x="10321006" y="459876"/>
                  <a:pt x="10321565" y="461470"/>
                  <a:pt x="10321815" y="463087"/>
                </a:cubicBezTo>
                <a:cubicBezTo>
                  <a:pt x="10354058" y="457158"/>
                  <a:pt x="10355176" y="470634"/>
                  <a:pt x="10373742" y="464538"/>
                </a:cubicBezTo>
                <a:cubicBezTo>
                  <a:pt x="10403060" y="475292"/>
                  <a:pt x="10411841" y="497597"/>
                  <a:pt x="10428532" y="492504"/>
                </a:cubicBezTo>
                <a:cubicBezTo>
                  <a:pt x="10440561" y="500742"/>
                  <a:pt x="10446267" y="521930"/>
                  <a:pt x="10466490" y="517759"/>
                </a:cubicBezTo>
                <a:cubicBezTo>
                  <a:pt x="10464622" y="519986"/>
                  <a:pt x="10465013" y="521261"/>
                  <a:pt x="10466675" y="522076"/>
                </a:cubicBezTo>
                <a:lnTo>
                  <a:pt x="10470309" y="522792"/>
                </a:lnTo>
                <a:lnTo>
                  <a:pt x="10474138" y="519761"/>
                </a:lnTo>
                <a:cubicBezTo>
                  <a:pt x="10488888" y="509612"/>
                  <a:pt x="10484914" y="524734"/>
                  <a:pt x="10501100" y="528263"/>
                </a:cubicBezTo>
                <a:cubicBezTo>
                  <a:pt x="10508412" y="530705"/>
                  <a:pt x="10505426" y="533743"/>
                  <a:pt x="10502395" y="536393"/>
                </a:cubicBezTo>
                <a:lnTo>
                  <a:pt x="10689496" y="560233"/>
                </a:lnTo>
                <a:cubicBezTo>
                  <a:pt x="10721441" y="573640"/>
                  <a:pt x="10757547" y="582937"/>
                  <a:pt x="10788736" y="613188"/>
                </a:cubicBezTo>
                <a:cubicBezTo>
                  <a:pt x="10794510" y="621641"/>
                  <a:pt x="10807098" y="616073"/>
                  <a:pt x="10819747" y="621351"/>
                </a:cubicBezTo>
                <a:cubicBezTo>
                  <a:pt x="10832398" y="626630"/>
                  <a:pt x="10846356" y="639592"/>
                  <a:pt x="10864632" y="644858"/>
                </a:cubicBezTo>
                <a:cubicBezTo>
                  <a:pt x="10895617" y="652290"/>
                  <a:pt x="10921550" y="640451"/>
                  <a:pt x="10929407" y="652945"/>
                </a:cubicBezTo>
                <a:cubicBezTo>
                  <a:pt x="10945460" y="653176"/>
                  <a:pt x="10968148" y="640553"/>
                  <a:pt x="10979412" y="654217"/>
                </a:cubicBezTo>
                <a:cubicBezTo>
                  <a:pt x="10981679" y="643737"/>
                  <a:pt x="10997287" y="663414"/>
                  <a:pt x="11006959" y="657017"/>
                </a:cubicBezTo>
                <a:cubicBezTo>
                  <a:pt x="11023230" y="659396"/>
                  <a:pt x="11051890" y="662462"/>
                  <a:pt x="11077038" y="668487"/>
                </a:cubicBezTo>
                <a:cubicBezTo>
                  <a:pt x="11097000" y="690299"/>
                  <a:pt x="11141286" y="676399"/>
                  <a:pt x="11157850" y="693164"/>
                </a:cubicBezTo>
                <a:cubicBezTo>
                  <a:pt x="11163800" y="695757"/>
                  <a:pt x="11169599" y="696942"/>
                  <a:pt x="11175276" y="697243"/>
                </a:cubicBezTo>
                <a:lnTo>
                  <a:pt x="11191131" y="696085"/>
                </a:lnTo>
                <a:lnTo>
                  <a:pt x="11195573" y="691751"/>
                </a:lnTo>
                <a:lnTo>
                  <a:pt x="11205299" y="693247"/>
                </a:lnTo>
                <a:lnTo>
                  <a:pt x="11223770" y="690335"/>
                </a:lnTo>
                <a:cubicBezTo>
                  <a:pt x="11237778" y="693777"/>
                  <a:pt x="11256852" y="701947"/>
                  <a:pt x="11292119" y="713311"/>
                </a:cubicBezTo>
                <a:cubicBezTo>
                  <a:pt x="11334878" y="733451"/>
                  <a:pt x="11401662" y="729175"/>
                  <a:pt x="11435379" y="758519"/>
                </a:cubicBezTo>
                <a:lnTo>
                  <a:pt x="11604406" y="810476"/>
                </a:lnTo>
                <a:lnTo>
                  <a:pt x="11652155" y="825109"/>
                </a:lnTo>
                <a:lnTo>
                  <a:pt x="11654192" y="827301"/>
                </a:lnTo>
                <a:cubicBezTo>
                  <a:pt x="11661650" y="834729"/>
                  <a:pt x="11669215" y="841480"/>
                  <a:pt x="11676599" y="846628"/>
                </a:cubicBezTo>
                <a:cubicBezTo>
                  <a:pt x="11688258" y="861760"/>
                  <a:pt x="11752266" y="896888"/>
                  <a:pt x="11775168" y="890664"/>
                </a:cubicBezTo>
                <a:cubicBezTo>
                  <a:pt x="11790977" y="883819"/>
                  <a:pt x="11808364" y="879901"/>
                  <a:pt x="11826341" y="877558"/>
                </a:cubicBezTo>
                <a:lnTo>
                  <a:pt x="11879068" y="874038"/>
                </a:lnTo>
                <a:lnTo>
                  <a:pt x="11889563" y="878619"/>
                </a:lnTo>
                <a:lnTo>
                  <a:pt x="12016613" y="886111"/>
                </a:lnTo>
                <a:lnTo>
                  <a:pt x="12108292" y="868500"/>
                </a:lnTo>
                <a:cubicBezTo>
                  <a:pt x="12129725" y="867311"/>
                  <a:pt x="12157891" y="874537"/>
                  <a:pt x="12182910" y="882003"/>
                </a:cubicBezTo>
                <a:lnTo>
                  <a:pt x="12192000" y="884778"/>
                </a:lnTo>
                <a:lnTo>
                  <a:pt x="12192000" y="1610315"/>
                </a:lnTo>
                <a:lnTo>
                  <a:pt x="12191998" y="1610315"/>
                </a:lnTo>
                <a:lnTo>
                  <a:pt x="12191998" y="1924333"/>
                </a:lnTo>
                <a:lnTo>
                  <a:pt x="0" y="1924333"/>
                </a:lnTo>
                <a:lnTo>
                  <a:pt x="0" y="505159"/>
                </a:lnTo>
                <a:lnTo>
                  <a:pt x="5722" y="508889"/>
                </a:lnTo>
                <a:cubicBezTo>
                  <a:pt x="21614" y="518548"/>
                  <a:pt x="33814" y="524781"/>
                  <a:pt x="38476" y="524137"/>
                </a:cubicBezTo>
                <a:cubicBezTo>
                  <a:pt x="99229" y="544180"/>
                  <a:pt x="142010" y="538457"/>
                  <a:pt x="192883" y="545272"/>
                </a:cubicBezTo>
                <a:cubicBezTo>
                  <a:pt x="277629" y="525210"/>
                  <a:pt x="293434" y="558443"/>
                  <a:pt x="343710" y="565029"/>
                </a:cubicBezTo>
                <a:cubicBezTo>
                  <a:pt x="383094" y="555729"/>
                  <a:pt x="425462" y="556271"/>
                  <a:pt x="471066" y="549837"/>
                </a:cubicBezTo>
                <a:cubicBezTo>
                  <a:pt x="513583" y="544428"/>
                  <a:pt x="569194" y="531004"/>
                  <a:pt x="617333" y="526428"/>
                </a:cubicBezTo>
                <a:cubicBezTo>
                  <a:pt x="660031" y="520760"/>
                  <a:pt x="696675" y="523882"/>
                  <a:pt x="725203" y="523793"/>
                </a:cubicBezTo>
                <a:cubicBezTo>
                  <a:pt x="736650" y="521695"/>
                  <a:pt x="780513" y="502146"/>
                  <a:pt x="788494" y="505799"/>
                </a:cubicBezTo>
                <a:lnTo>
                  <a:pt x="885977" y="526585"/>
                </a:lnTo>
                <a:cubicBezTo>
                  <a:pt x="906140" y="522837"/>
                  <a:pt x="917203" y="532232"/>
                  <a:pt x="932142" y="528005"/>
                </a:cubicBezTo>
                <a:cubicBezTo>
                  <a:pt x="963701" y="524128"/>
                  <a:pt x="1061555" y="499582"/>
                  <a:pt x="1090404" y="498299"/>
                </a:cubicBezTo>
                <a:cubicBezTo>
                  <a:pt x="1132840" y="494057"/>
                  <a:pt x="1148476" y="496041"/>
                  <a:pt x="1188628" y="483151"/>
                </a:cubicBezTo>
                <a:cubicBezTo>
                  <a:pt x="1230397" y="468408"/>
                  <a:pt x="1278711" y="457638"/>
                  <a:pt x="1316247" y="425979"/>
                </a:cubicBezTo>
                <a:cubicBezTo>
                  <a:pt x="1322662" y="417251"/>
                  <a:pt x="1339433" y="418553"/>
                  <a:pt x="1357712" y="416549"/>
                </a:cubicBezTo>
                <a:cubicBezTo>
                  <a:pt x="1375991" y="414544"/>
                  <a:pt x="1423507" y="412949"/>
                  <a:pt x="1425921" y="413953"/>
                </a:cubicBezTo>
                <a:cubicBezTo>
                  <a:pt x="1450272" y="407937"/>
                  <a:pt x="1458223" y="388156"/>
                  <a:pt x="1503817" y="380457"/>
                </a:cubicBezTo>
                <a:cubicBezTo>
                  <a:pt x="1541095" y="377398"/>
                  <a:pt x="1605565" y="376357"/>
                  <a:pt x="1639196" y="372785"/>
                </a:cubicBezTo>
                <a:cubicBezTo>
                  <a:pt x="1653280" y="376736"/>
                  <a:pt x="1695289" y="365766"/>
                  <a:pt x="1705606" y="359023"/>
                </a:cubicBezTo>
                <a:cubicBezTo>
                  <a:pt x="1729169" y="336295"/>
                  <a:pt x="1793207" y="348537"/>
                  <a:pt x="1813011" y="331023"/>
                </a:cubicBezTo>
                <a:cubicBezTo>
                  <a:pt x="1820772" y="328179"/>
                  <a:pt x="1823566" y="341833"/>
                  <a:pt x="1831380" y="341307"/>
                </a:cubicBezTo>
                <a:lnTo>
                  <a:pt x="1858612" y="326777"/>
                </a:lnTo>
                <a:lnTo>
                  <a:pt x="1880661" y="335987"/>
                </a:lnTo>
                <a:lnTo>
                  <a:pt x="1941495" y="310792"/>
                </a:lnTo>
                <a:cubicBezTo>
                  <a:pt x="1978970" y="307223"/>
                  <a:pt x="1947391" y="291714"/>
                  <a:pt x="1995402" y="305480"/>
                </a:cubicBezTo>
                <a:cubicBezTo>
                  <a:pt x="2042464" y="298034"/>
                  <a:pt x="2153424" y="281146"/>
                  <a:pt x="2223864" y="266118"/>
                </a:cubicBezTo>
                <a:cubicBezTo>
                  <a:pt x="2261296" y="256300"/>
                  <a:pt x="2360518" y="238323"/>
                  <a:pt x="2418043" y="215314"/>
                </a:cubicBezTo>
                <a:cubicBezTo>
                  <a:pt x="2472088" y="206823"/>
                  <a:pt x="2499422" y="162612"/>
                  <a:pt x="2558461" y="168193"/>
                </a:cubicBezTo>
                <a:cubicBezTo>
                  <a:pt x="2559660" y="164506"/>
                  <a:pt x="2592244" y="161337"/>
                  <a:pt x="2595535" y="158548"/>
                </a:cubicBezTo>
                <a:lnTo>
                  <a:pt x="2626942" y="130400"/>
                </a:lnTo>
                <a:lnTo>
                  <a:pt x="2632225" y="130446"/>
                </a:lnTo>
                <a:lnTo>
                  <a:pt x="2696856" y="128498"/>
                </a:lnTo>
                <a:lnTo>
                  <a:pt x="2759767" y="127784"/>
                </a:lnTo>
                <a:cubicBezTo>
                  <a:pt x="2770024" y="123546"/>
                  <a:pt x="2781047" y="119463"/>
                  <a:pt x="2792685" y="115710"/>
                </a:cubicBezTo>
                <a:lnTo>
                  <a:pt x="2799767" y="113754"/>
                </a:lnTo>
                <a:lnTo>
                  <a:pt x="2829799" y="120042"/>
                </a:lnTo>
                <a:lnTo>
                  <a:pt x="2890704" y="121493"/>
                </a:lnTo>
                <a:cubicBezTo>
                  <a:pt x="2935390" y="121035"/>
                  <a:pt x="2990780" y="113193"/>
                  <a:pt x="3042646" y="112273"/>
                </a:cubicBezTo>
                <a:cubicBezTo>
                  <a:pt x="3077119" y="111474"/>
                  <a:pt x="3124089" y="100414"/>
                  <a:pt x="3146630" y="100898"/>
                </a:cubicBezTo>
                <a:cubicBezTo>
                  <a:pt x="3169381" y="117699"/>
                  <a:pt x="3224695" y="125864"/>
                  <a:pt x="3233163" y="120200"/>
                </a:cubicBezTo>
                <a:lnTo>
                  <a:pt x="3372699" y="129394"/>
                </a:lnTo>
                <a:cubicBezTo>
                  <a:pt x="3389020" y="126586"/>
                  <a:pt x="3397563" y="116804"/>
                  <a:pt x="3394352" y="131671"/>
                </a:cubicBezTo>
                <a:cubicBezTo>
                  <a:pt x="3406102" y="131485"/>
                  <a:pt x="3429770" y="120938"/>
                  <a:pt x="3448218" y="118229"/>
                </a:cubicBezTo>
                <a:lnTo>
                  <a:pt x="3505047" y="115412"/>
                </a:lnTo>
                <a:lnTo>
                  <a:pt x="3521767" y="111071"/>
                </a:lnTo>
                <a:cubicBezTo>
                  <a:pt x="3526335" y="108877"/>
                  <a:pt x="3582156" y="117732"/>
                  <a:pt x="3585137" y="114371"/>
                </a:cubicBezTo>
                <a:cubicBezTo>
                  <a:pt x="3638265" y="102098"/>
                  <a:pt x="3633789" y="98565"/>
                  <a:pt x="3690293" y="98301"/>
                </a:cubicBezTo>
                <a:cubicBezTo>
                  <a:pt x="3782197" y="112746"/>
                  <a:pt x="3826738" y="92943"/>
                  <a:pt x="3867818" y="88985"/>
                </a:cubicBezTo>
                <a:cubicBezTo>
                  <a:pt x="3943777" y="81477"/>
                  <a:pt x="3990501" y="75194"/>
                  <a:pt x="4091337" y="70813"/>
                </a:cubicBezTo>
                <a:cubicBezTo>
                  <a:pt x="4154422" y="62932"/>
                  <a:pt x="4217060" y="45734"/>
                  <a:pt x="4246332" y="41697"/>
                </a:cubicBezTo>
                <a:cubicBezTo>
                  <a:pt x="4253308" y="42804"/>
                  <a:pt x="4260125" y="44606"/>
                  <a:pt x="4266975" y="46592"/>
                </a:cubicBezTo>
                <a:lnTo>
                  <a:pt x="4270566" y="47620"/>
                </a:lnTo>
                <a:lnTo>
                  <a:pt x="4288964" y="52766"/>
                </a:lnTo>
                <a:lnTo>
                  <a:pt x="4365137" y="51783"/>
                </a:lnTo>
                <a:lnTo>
                  <a:pt x="4430546" y="44555"/>
                </a:lnTo>
                <a:lnTo>
                  <a:pt x="4444136" y="39567"/>
                </a:lnTo>
                <a:lnTo>
                  <a:pt x="4534039" y="31604"/>
                </a:lnTo>
                <a:lnTo>
                  <a:pt x="4560448" y="25231"/>
                </a:lnTo>
                <a:lnTo>
                  <a:pt x="4568006" y="25970"/>
                </a:lnTo>
                <a:cubicBezTo>
                  <a:pt x="4580278" y="23866"/>
                  <a:pt x="4594878" y="14904"/>
                  <a:pt x="4595497" y="22958"/>
                </a:cubicBezTo>
                <a:lnTo>
                  <a:pt x="4608623" y="18108"/>
                </a:lnTo>
                <a:lnTo>
                  <a:pt x="4623942" y="22251"/>
                </a:lnTo>
                <a:cubicBezTo>
                  <a:pt x="4633227" y="23117"/>
                  <a:pt x="4655429" y="23973"/>
                  <a:pt x="4664336" y="23306"/>
                </a:cubicBezTo>
                <a:lnTo>
                  <a:pt x="4677385" y="18246"/>
                </a:lnTo>
                <a:lnTo>
                  <a:pt x="4698143" y="18036"/>
                </a:lnTo>
                <a:cubicBezTo>
                  <a:pt x="4710347" y="18931"/>
                  <a:pt x="4736189" y="22441"/>
                  <a:pt x="4750609" y="23611"/>
                </a:cubicBezTo>
                <a:cubicBezTo>
                  <a:pt x="4764270" y="27424"/>
                  <a:pt x="4774858" y="29782"/>
                  <a:pt x="4784658" y="25057"/>
                </a:cubicBezTo>
                <a:cubicBezTo>
                  <a:pt x="4804708" y="29613"/>
                  <a:pt x="4822811" y="48263"/>
                  <a:pt x="4847558" y="38726"/>
                </a:cubicBezTo>
                <a:cubicBezTo>
                  <a:pt x="4868304" y="42993"/>
                  <a:pt x="4867190" y="47939"/>
                  <a:pt x="4909134" y="50659"/>
                </a:cubicBezTo>
                <a:cubicBezTo>
                  <a:pt x="4945026" y="52455"/>
                  <a:pt x="5063406" y="54096"/>
                  <a:pt x="5099219" y="55050"/>
                </a:cubicBezTo>
                <a:cubicBezTo>
                  <a:pt x="5145195" y="57873"/>
                  <a:pt x="5163254" y="65473"/>
                  <a:pt x="5184992" y="67596"/>
                </a:cubicBezTo>
                <a:cubicBezTo>
                  <a:pt x="5206728" y="69720"/>
                  <a:pt x="5195578" y="65687"/>
                  <a:pt x="5229637" y="67789"/>
                </a:cubicBezTo>
                <a:cubicBezTo>
                  <a:pt x="5263695" y="69892"/>
                  <a:pt x="5345217" y="78854"/>
                  <a:pt x="5389346" y="80211"/>
                </a:cubicBezTo>
                <a:cubicBezTo>
                  <a:pt x="5425889" y="83191"/>
                  <a:pt x="5461943" y="84751"/>
                  <a:pt x="5494414" y="75926"/>
                </a:cubicBezTo>
                <a:lnTo>
                  <a:pt x="5528443" y="77206"/>
                </a:lnTo>
                <a:cubicBezTo>
                  <a:pt x="5582723" y="71370"/>
                  <a:pt x="5638917" y="68385"/>
                  <a:pt x="5684939" y="50269"/>
                </a:cubicBezTo>
                <a:cubicBezTo>
                  <a:pt x="5724389" y="45804"/>
                  <a:pt x="5737860" y="52916"/>
                  <a:pt x="5765146" y="50414"/>
                </a:cubicBezTo>
                <a:cubicBezTo>
                  <a:pt x="5792695" y="43060"/>
                  <a:pt x="5827352" y="38097"/>
                  <a:pt x="5848655" y="35257"/>
                </a:cubicBezTo>
                <a:lnTo>
                  <a:pt x="5930656" y="30131"/>
                </a:lnTo>
                <a:lnTo>
                  <a:pt x="6124150" y="31679"/>
                </a:lnTo>
                <a:cubicBezTo>
                  <a:pt x="6138131" y="22216"/>
                  <a:pt x="6167730" y="4075"/>
                  <a:pt x="6189199" y="588"/>
                </a:cubicBez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3280229" y="5279511"/>
            <a:ext cx="5631544" cy="739880"/>
          </a:xfrm>
          <a:prstGeom prst="rect">
            <a:avLst/>
          </a:prstGeom>
        </p:spPr>
        <p:txBody>
          <a:bodyPr spcFirstLastPara="1" numCol="1" rtlCol="1" anchor="b">
            <a:prstTxWarp prst="textArchDown">
              <a:avLst/>
            </a:prstTxWarp>
            <a:normAutofit lnSpcReduction="10000"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800">
                <a:ln w="12700">
                  <a:solidFill>
                    <a:srgbClr val="444346"/>
                  </a:solidFill>
                </a:ln>
                <a:solidFill>
                  <a:srgbClr val="4D4E51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dirty="0">
                <a:solidFill>
                  <a:srgbClr val="745A74"/>
                </a:solidFill>
              </a:rPr>
              <a:t>לו״ז תכנון וביצוע</a:t>
            </a:r>
          </a:p>
        </p:txBody>
      </p:sp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2935CA94-BD8C-930A-C296-17F46EEF1C00}"/>
              </a:ext>
            </a:extLst>
          </p:cNvPr>
          <p:cNvGraphicFramePr>
            <a:graphicFrameLocks noGrp="1" noDrilldown="1" noChangeAspect="1" noMove="1" noResize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4919778"/>
              </p:ext>
            </p:extLst>
          </p:nvPr>
        </p:nvGraphicFramePr>
        <p:xfrm>
          <a:off x="538480" y="838610"/>
          <a:ext cx="11115040" cy="41018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22527414" imgH="6808278" progId="Excel.Sheet.12">
                  <p:link updateAutomatic="1"/>
                </p:oleObj>
              </mc:Choice>
              <mc:Fallback>
                <p:oleObj name="Worksheet" r:id="rId6" imgW="22527414" imgH="6808278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538480" y="838610"/>
                        <a:ext cx="11115040" cy="41018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Recording">
            <a:hlinkClick r:id="" action="ppaction://media"/>
            <a:extLst>
              <a:ext uri="{FF2B5EF4-FFF2-40B4-BE49-F238E27FC236}">
                <a16:creationId xmlns:a16="http://schemas.microsoft.com/office/drawing/2014/main" id="{F2594588-CCAA-3288-0AE6-39C733F2D4C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3">
                  <p14:trim st="3400" end="566.6458"/>
                </p14:media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272573" y="7019034"/>
            <a:ext cx="531813" cy="531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4452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1" presetClass="mediacall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cmd type="call" cmd="playFrom(0.0)">
                                      <p:cBhvr>
                                        <p:cTn id="22" dur="1836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80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2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  <p:bldLst>
      <p:bldP spid="12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61000">
              <a:srgbClr val="F7F6F6"/>
            </a:gs>
            <a:gs pos="100000">
              <a:srgbClr val="FDE663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0" name="Rectangle 19">
            <a:extLst>
              <a:ext uri="{FF2B5EF4-FFF2-40B4-BE49-F238E27FC236}">
                <a16:creationId xmlns:a16="http://schemas.microsoft.com/office/drawing/2014/main" id="{F0DCC097-1DB8-4B6D-85D0-6FBA0E1CA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E0B58608-23C8-4441-994D-C6823EEE1D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2191999" cy="2083506"/>
          </a:xfrm>
          <a:custGeom>
            <a:avLst/>
            <a:gdLst>
              <a:gd name="connsiteX0" fmla="*/ 0 w 12191999"/>
              <a:gd name="connsiteY0" fmla="*/ 0 h 2083506"/>
              <a:gd name="connsiteX1" fmla="*/ 9429748 w 12191999"/>
              <a:gd name="connsiteY1" fmla="*/ 0 h 2083506"/>
              <a:gd name="connsiteX2" fmla="*/ 9429748 w 12191999"/>
              <a:gd name="connsiteY2" fmla="*/ 1 h 2083506"/>
              <a:gd name="connsiteX3" fmla="*/ 12191999 w 12191999"/>
              <a:gd name="connsiteY3" fmla="*/ 1 h 2083506"/>
              <a:gd name="connsiteX4" fmla="*/ 12191999 w 12191999"/>
              <a:gd name="connsiteY4" fmla="*/ 1164372 h 2083506"/>
              <a:gd name="connsiteX5" fmla="*/ 12147852 w 12191999"/>
              <a:gd name="connsiteY5" fmla="*/ 1163783 h 2083506"/>
              <a:gd name="connsiteX6" fmla="*/ 11993604 w 12191999"/>
              <a:gd name="connsiteY6" fmla="*/ 1153496 h 2083506"/>
              <a:gd name="connsiteX7" fmla="*/ 11865319 w 12191999"/>
              <a:gd name="connsiteY7" fmla="*/ 1176624 h 2083506"/>
              <a:gd name="connsiteX8" fmla="*/ 11718353 w 12191999"/>
              <a:gd name="connsiteY8" fmla="*/ 1209136 h 2083506"/>
              <a:gd name="connsiteX9" fmla="*/ 11609067 w 12191999"/>
              <a:gd name="connsiteY9" fmla="*/ 1218512 h 2083506"/>
              <a:gd name="connsiteX10" fmla="*/ 11545958 w 12191999"/>
              <a:gd name="connsiteY10" fmla="*/ 1240430 h 2083506"/>
              <a:gd name="connsiteX11" fmla="*/ 11445770 w 12191999"/>
              <a:gd name="connsiteY11" fmla="*/ 1225780 h 2083506"/>
              <a:gd name="connsiteX12" fmla="*/ 11398842 w 12191999"/>
              <a:gd name="connsiteY12" fmla="*/ 1227250 h 2083506"/>
              <a:gd name="connsiteX13" fmla="*/ 11240093 w 12191999"/>
              <a:gd name="connsiteY13" fmla="*/ 1266797 h 2083506"/>
              <a:gd name="connsiteX14" fmla="*/ 11141364 w 12191999"/>
              <a:gd name="connsiteY14" fmla="*/ 1288059 h 2083506"/>
              <a:gd name="connsiteX15" fmla="*/ 11015396 w 12191999"/>
              <a:gd name="connsiteY15" fmla="*/ 1353104 h 2083506"/>
              <a:gd name="connsiteX16" fmla="*/ 10973905 w 12191999"/>
              <a:gd name="connsiteY16" fmla="*/ 1365109 h 2083506"/>
              <a:gd name="connsiteX17" fmla="*/ 10904858 w 12191999"/>
              <a:gd name="connsiteY17" fmla="*/ 1371966 h 2083506"/>
              <a:gd name="connsiteX18" fmla="*/ 10827883 w 12191999"/>
              <a:gd name="connsiteY18" fmla="*/ 1410270 h 2083506"/>
              <a:gd name="connsiteX19" fmla="*/ 10690996 w 12191999"/>
              <a:gd name="connsiteY19" fmla="*/ 1426394 h 2083506"/>
              <a:gd name="connsiteX20" fmla="*/ 10624461 w 12191999"/>
              <a:gd name="connsiteY20" fmla="*/ 1444283 h 2083506"/>
              <a:gd name="connsiteX21" fmla="*/ 10517208 w 12191999"/>
              <a:gd name="connsiteY21" fmla="*/ 1478947 h 2083506"/>
              <a:gd name="connsiteX22" fmla="*/ 10497937 w 12191999"/>
              <a:gd name="connsiteY22" fmla="*/ 1469831 h 2083506"/>
              <a:gd name="connsiteX23" fmla="*/ 10471201 w 12191999"/>
              <a:gd name="connsiteY23" fmla="*/ 1486037 h 2083506"/>
              <a:gd name="connsiteX24" fmla="*/ 10448263 w 12191999"/>
              <a:gd name="connsiteY24" fmla="*/ 1478223 h 2083506"/>
              <a:gd name="connsiteX25" fmla="*/ 10388089 w 12191999"/>
              <a:gd name="connsiteY25" fmla="*/ 1507175 h 2083506"/>
              <a:gd name="connsiteX26" fmla="*/ 10333720 w 12191999"/>
              <a:gd name="connsiteY26" fmla="*/ 1515848 h 2083506"/>
              <a:gd name="connsiteX27" fmla="*/ 10104338 w 12191999"/>
              <a:gd name="connsiteY27" fmla="*/ 1569424 h 2083506"/>
              <a:gd name="connsiteX28" fmla="*/ 9910445 w 12191999"/>
              <a:gd name="connsiteY28" fmla="*/ 1632275 h 2083506"/>
              <a:gd name="connsiteX29" fmla="*/ 9770872 w 12191999"/>
              <a:gd name="connsiteY29" fmla="*/ 1688088 h 2083506"/>
              <a:gd name="connsiteX30" fmla="*/ 9733849 w 12191999"/>
              <a:gd name="connsiteY30" fmla="*/ 1700034 h 2083506"/>
              <a:gd name="connsiteX31" fmla="*/ 9703714 w 12191999"/>
              <a:gd name="connsiteY31" fmla="*/ 1730093 h 2083506"/>
              <a:gd name="connsiteX32" fmla="*/ 9698351 w 12191999"/>
              <a:gd name="connsiteY32" fmla="*/ 1730377 h 2083506"/>
              <a:gd name="connsiteX33" fmla="*/ 9632895 w 12191999"/>
              <a:gd name="connsiteY33" fmla="*/ 1736363 h 2083506"/>
              <a:gd name="connsiteX34" fmla="*/ 9569107 w 12191999"/>
              <a:gd name="connsiteY34" fmla="*/ 1741010 h 2083506"/>
              <a:gd name="connsiteX35" fmla="*/ 9536451 w 12191999"/>
              <a:gd name="connsiteY35" fmla="*/ 1755120 h 2083506"/>
              <a:gd name="connsiteX36" fmla="*/ 9529385 w 12191999"/>
              <a:gd name="connsiteY36" fmla="*/ 1757515 h 2083506"/>
              <a:gd name="connsiteX37" fmla="*/ 9498527 w 12191999"/>
              <a:gd name="connsiteY37" fmla="*/ 1753117 h 2083506"/>
              <a:gd name="connsiteX38" fmla="*/ 9436642 w 12191999"/>
              <a:gd name="connsiteY38" fmla="*/ 1755478 h 2083506"/>
              <a:gd name="connsiteX39" fmla="*/ 9429748 w 12191999"/>
              <a:gd name="connsiteY39" fmla="*/ 1756317 h 2083506"/>
              <a:gd name="connsiteX40" fmla="*/ 9429748 w 12191999"/>
              <a:gd name="connsiteY40" fmla="*/ 1768745 h 2083506"/>
              <a:gd name="connsiteX41" fmla="*/ 9425802 w 12191999"/>
              <a:gd name="connsiteY41" fmla="*/ 1769273 h 2083506"/>
              <a:gd name="connsiteX42" fmla="*/ 9349763 w 12191999"/>
              <a:gd name="connsiteY42" fmla="*/ 1776107 h 2083506"/>
              <a:gd name="connsiteX43" fmla="*/ 9256503 w 12191999"/>
              <a:gd name="connsiteY43" fmla="*/ 1800699 h 2083506"/>
              <a:gd name="connsiteX44" fmla="*/ 9222873 w 12191999"/>
              <a:gd name="connsiteY44" fmla="*/ 1803003 h 2083506"/>
              <a:gd name="connsiteX45" fmla="*/ 9224095 w 12191999"/>
              <a:gd name="connsiteY45" fmla="*/ 1807355 h 2083506"/>
              <a:gd name="connsiteX46" fmla="*/ 9211603 w 12191999"/>
              <a:gd name="connsiteY46" fmla="*/ 1807675 h 2083506"/>
              <a:gd name="connsiteX47" fmla="*/ 9183719 w 12191999"/>
              <a:gd name="connsiteY47" fmla="*/ 1807781 h 2083506"/>
              <a:gd name="connsiteX48" fmla="*/ 9100221 w 12191999"/>
              <a:gd name="connsiteY48" fmla="*/ 1808989 h 2083506"/>
              <a:gd name="connsiteX49" fmla="*/ 9077439 w 12191999"/>
              <a:gd name="connsiteY49" fmla="*/ 1817333 h 2083506"/>
              <a:gd name="connsiteX50" fmla="*/ 9055889 w 12191999"/>
              <a:gd name="connsiteY50" fmla="*/ 1817464 h 2083506"/>
              <a:gd name="connsiteX51" fmla="*/ 8930912 w 12191999"/>
              <a:gd name="connsiteY51" fmla="*/ 1828648 h 2083506"/>
              <a:gd name="connsiteX52" fmla="*/ 8913729 w 12191999"/>
              <a:gd name="connsiteY52" fmla="*/ 1829483 h 2083506"/>
              <a:gd name="connsiteX53" fmla="*/ 8904423 w 12191999"/>
              <a:gd name="connsiteY53" fmla="*/ 1833234 h 2083506"/>
              <a:gd name="connsiteX54" fmla="*/ 8871099 w 12191999"/>
              <a:gd name="connsiteY54" fmla="*/ 1833979 h 2083506"/>
              <a:gd name="connsiteX55" fmla="*/ 8869557 w 12191999"/>
              <a:gd name="connsiteY55" fmla="*/ 1836113 h 2083506"/>
              <a:gd name="connsiteX56" fmla="*/ 8760021 w 12191999"/>
              <a:gd name="connsiteY56" fmla="*/ 1854442 h 2083506"/>
              <a:gd name="connsiteX57" fmla="*/ 8741254 w 12191999"/>
              <a:gd name="connsiteY57" fmla="*/ 1857469 h 2083506"/>
              <a:gd name="connsiteX58" fmla="*/ 8725039 w 12191999"/>
              <a:gd name="connsiteY58" fmla="*/ 1856552 h 2083506"/>
              <a:gd name="connsiteX59" fmla="*/ 8635265 w 12191999"/>
              <a:gd name="connsiteY59" fmla="*/ 1859168 h 2083506"/>
              <a:gd name="connsiteX60" fmla="*/ 8613911 w 12191999"/>
              <a:gd name="connsiteY60" fmla="*/ 1857561 h 2083506"/>
              <a:gd name="connsiteX61" fmla="*/ 8604931 w 12191999"/>
              <a:gd name="connsiteY61" fmla="*/ 1854170 h 2083506"/>
              <a:gd name="connsiteX62" fmla="*/ 8570171 w 12191999"/>
              <a:gd name="connsiteY62" fmla="*/ 1860579 h 2083506"/>
              <a:gd name="connsiteX63" fmla="*/ 8516537 w 12191999"/>
              <a:gd name="connsiteY63" fmla="*/ 1864971 h 2083506"/>
              <a:gd name="connsiteX64" fmla="*/ 8491046 w 12191999"/>
              <a:gd name="connsiteY64" fmla="*/ 1868141 h 2083506"/>
              <a:gd name="connsiteX65" fmla="*/ 8470478 w 12191999"/>
              <a:gd name="connsiteY65" fmla="*/ 1866216 h 2083506"/>
              <a:gd name="connsiteX66" fmla="*/ 8353433 w 12191999"/>
              <a:gd name="connsiteY66" fmla="*/ 1865729 h 2083506"/>
              <a:gd name="connsiteX67" fmla="*/ 8347675 w 12191999"/>
              <a:gd name="connsiteY67" fmla="*/ 1865075 h 2083506"/>
              <a:gd name="connsiteX68" fmla="*/ 8343939 w 12191999"/>
              <a:gd name="connsiteY68" fmla="*/ 1865677 h 2083506"/>
              <a:gd name="connsiteX69" fmla="*/ 8221566 w 12191999"/>
              <a:gd name="connsiteY69" fmla="*/ 1881148 h 2083506"/>
              <a:gd name="connsiteX70" fmla="*/ 8066095 w 12191999"/>
              <a:gd name="connsiteY70" fmla="*/ 1919902 h 2083506"/>
              <a:gd name="connsiteX71" fmla="*/ 8044849 w 12191999"/>
              <a:gd name="connsiteY71" fmla="*/ 1916308 h 2083506"/>
              <a:gd name="connsiteX72" fmla="*/ 8041142 w 12191999"/>
              <a:gd name="connsiteY72" fmla="*/ 1915506 h 2083506"/>
              <a:gd name="connsiteX73" fmla="*/ 8022159 w 12191999"/>
              <a:gd name="connsiteY73" fmla="*/ 1911521 h 2083506"/>
              <a:gd name="connsiteX74" fmla="*/ 7944932 w 12191999"/>
              <a:gd name="connsiteY74" fmla="*/ 1917265 h 2083506"/>
              <a:gd name="connsiteX75" fmla="*/ 7879011 w 12191999"/>
              <a:gd name="connsiteY75" fmla="*/ 1928570 h 2083506"/>
              <a:gd name="connsiteX76" fmla="*/ 7865529 w 12191999"/>
              <a:gd name="connsiteY76" fmla="*/ 1934399 h 2083506"/>
              <a:gd name="connsiteX77" fmla="*/ 7774801 w 12191999"/>
              <a:gd name="connsiteY77" fmla="*/ 1947969 h 2083506"/>
              <a:gd name="connsiteX78" fmla="*/ 7748398 w 12191999"/>
              <a:gd name="connsiteY78" fmla="*/ 1955982 h 2083506"/>
              <a:gd name="connsiteX79" fmla="*/ 7740684 w 12191999"/>
              <a:gd name="connsiteY79" fmla="*/ 1955717 h 2083506"/>
              <a:gd name="connsiteX80" fmla="*/ 7712976 w 12191999"/>
              <a:gd name="connsiteY80" fmla="*/ 1960442 h 2083506"/>
              <a:gd name="connsiteX81" fmla="*/ 7699956 w 12191999"/>
              <a:gd name="connsiteY81" fmla="*/ 1966104 h 2083506"/>
              <a:gd name="connsiteX82" fmla="*/ 7684158 w 12191999"/>
              <a:gd name="connsiteY82" fmla="*/ 1962927 h 2083506"/>
              <a:gd name="connsiteX83" fmla="*/ 7643109 w 12191999"/>
              <a:gd name="connsiteY83" fmla="*/ 1964400 h 2083506"/>
              <a:gd name="connsiteX84" fmla="*/ 7630180 w 12191999"/>
              <a:gd name="connsiteY84" fmla="*/ 1970266 h 2083506"/>
              <a:gd name="connsiteX85" fmla="*/ 7609131 w 12191999"/>
              <a:gd name="connsiteY85" fmla="*/ 1971774 h 2083506"/>
              <a:gd name="connsiteX86" fmla="*/ 7555555 w 12191999"/>
              <a:gd name="connsiteY86" fmla="*/ 1969491 h 2083506"/>
              <a:gd name="connsiteX87" fmla="*/ 7520919 w 12191999"/>
              <a:gd name="connsiteY87" fmla="*/ 1970177 h 2083506"/>
              <a:gd name="connsiteX88" fmla="*/ 7456258 w 12191999"/>
              <a:gd name="connsiteY88" fmla="*/ 1960468 h 2083506"/>
              <a:gd name="connsiteX89" fmla="*/ 7393047 w 12191999"/>
              <a:gd name="connsiteY89" fmla="*/ 1952408 h 2083506"/>
              <a:gd name="connsiteX90" fmla="*/ 7199912 w 12191999"/>
              <a:gd name="connsiteY90" fmla="*/ 1959913 h 2083506"/>
              <a:gd name="connsiteX91" fmla="*/ 7146774 w 12191999"/>
              <a:gd name="connsiteY91" fmla="*/ 1956641 h 2083506"/>
              <a:gd name="connsiteX92" fmla="*/ 7122244 w 12191999"/>
              <a:gd name="connsiteY92" fmla="*/ 1953891 h 2083506"/>
              <a:gd name="connsiteX93" fmla="*/ 7032241 w 12191999"/>
              <a:gd name="connsiteY93" fmla="*/ 1962723 h 2083506"/>
              <a:gd name="connsiteX94" fmla="*/ 6941492 w 12191999"/>
              <a:gd name="connsiteY94" fmla="*/ 1976868 h 2083506"/>
              <a:gd name="connsiteX95" fmla="*/ 6906514 w 12191999"/>
              <a:gd name="connsiteY95" fmla="*/ 1968589 h 2083506"/>
              <a:gd name="connsiteX96" fmla="*/ 6826395 w 12191999"/>
              <a:gd name="connsiteY96" fmla="*/ 1974141 h 2083506"/>
              <a:gd name="connsiteX97" fmla="*/ 6716431 w 12191999"/>
              <a:gd name="connsiteY97" fmla="*/ 2004297 h 2083506"/>
              <a:gd name="connsiteX98" fmla="*/ 6569607 w 12191999"/>
              <a:gd name="connsiteY98" fmla="*/ 2015496 h 2083506"/>
              <a:gd name="connsiteX99" fmla="*/ 6561430 w 12191999"/>
              <a:gd name="connsiteY99" fmla="*/ 2020996 h 2083506"/>
              <a:gd name="connsiteX100" fmla="*/ 6549371 w 12191999"/>
              <a:gd name="connsiteY100" fmla="*/ 2024747 h 2083506"/>
              <a:gd name="connsiteX101" fmla="*/ 6547040 w 12191999"/>
              <a:gd name="connsiteY101" fmla="*/ 2024474 h 2083506"/>
              <a:gd name="connsiteX102" fmla="*/ 6530482 w 12191999"/>
              <a:gd name="connsiteY102" fmla="*/ 2026659 h 2083506"/>
              <a:gd name="connsiteX103" fmla="*/ 6528565 w 12191999"/>
              <a:gd name="connsiteY103" fmla="*/ 2028600 h 2083506"/>
              <a:gd name="connsiteX104" fmla="*/ 6517741 w 12191999"/>
              <a:gd name="connsiteY104" fmla="*/ 2030558 h 2083506"/>
              <a:gd name="connsiteX105" fmla="*/ 6497855 w 12191999"/>
              <a:gd name="connsiteY105" fmla="*/ 2035650 h 2083506"/>
              <a:gd name="connsiteX106" fmla="*/ 6492785 w 12191999"/>
              <a:gd name="connsiteY106" fmla="*/ 2035444 h 2083506"/>
              <a:gd name="connsiteX107" fmla="*/ 6460692 w 12191999"/>
              <a:gd name="connsiteY107" fmla="*/ 2041321 h 2083506"/>
              <a:gd name="connsiteX108" fmla="*/ 6459609 w 12191999"/>
              <a:gd name="connsiteY108" fmla="*/ 2040851 h 2083506"/>
              <a:gd name="connsiteX109" fmla="*/ 6447765 w 12191999"/>
              <a:gd name="connsiteY109" fmla="*/ 2040102 h 2083506"/>
              <a:gd name="connsiteX110" fmla="*/ 6426590 w 12191999"/>
              <a:gd name="connsiteY110" fmla="*/ 2039928 h 2083506"/>
              <a:gd name="connsiteX111" fmla="*/ 6401693 w 12191999"/>
              <a:gd name="connsiteY111" fmla="*/ 2033537 h 2083506"/>
              <a:gd name="connsiteX112" fmla="*/ 6387141 w 12191999"/>
              <a:gd name="connsiteY112" fmla="*/ 2033161 h 2083506"/>
              <a:gd name="connsiteX113" fmla="*/ 6357846 w 12191999"/>
              <a:gd name="connsiteY113" fmla="*/ 2036782 h 2083506"/>
              <a:gd name="connsiteX114" fmla="*/ 6342914 w 12191999"/>
              <a:gd name="connsiteY114" fmla="*/ 2037585 h 2083506"/>
              <a:gd name="connsiteX115" fmla="*/ 6336300 w 12191999"/>
              <a:gd name="connsiteY115" fmla="*/ 2038781 h 2083506"/>
              <a:gd name="connsiteX116" fmla="*/ 6317178 w 12191999"/>
              <a:gd name="connsiteY116" fmla="*/ 2038968 h 2083506"/>
              <a:gd name="connsiteX117" fmla="*/ 6161427 w 12191999"/>
              <a:gd name="connsiteY117" fmla="*/ 2047338 h 2083506"/>
              <a:gd name="connsiteX118" fmla="*/ 6097339 w 12191999"/>
              <a:gd name="connsiteY118" fmla="*/ 2082438 h 2083506"/>
              <a:gd name="connsiteX119" fmla="*/ 6079059 w 12191999"/>
              <a:gd name="connsiteY119" fmla="*/ 2081299 h 2083506"/>
              <a:gd name="connsiteX120" fmla="*/ 5998439 w 12191999"/>
              <a:gd name="connsiteY120" fmla="*/ 2070958 h 2083506"/>
              <a:gd name="connsiteX121" fmla="*/ 5904290 w 12191999"/>
              <a:gd name="connsiteY121" fmla="*/ 2070255 h 2083506"/>
              <a:gd name="connsiteX122" fmla="*/ 5814867 w 12191999"/>
              <a:gd name="connsiteY122" fmla="*/ 2079032 h 2083506"/>
              <a:gd name="connsiteX123" fmla="*/ 5725743 w 12191999"/>
              <a:gd name="connsiteY123" fmla="*/ 2070558 h 2083506"/>
              <a:gd name="connsiteX124" fmla="*/ 5650546 w 12191999"/>
              <a:gd name="connsiteY124" fmla="*/ 2052412 h 2083506"/>
              <a:gd name="connsiteX125" fmla="*/ 5581284 w 12191999"/>
              <a:gd name="connsiteY125" fmla="*/ 2023175 h 2083506"/>
              <a:gd name="connsiteX126" fmla="*/ 5572593 w 12191999"/>
              <a:gd name="connsiteY126" fmla="*/ 2018391 h 2083506"/>
              <a:gd name="connsiteX127" fmla="*/ 5548580 w 12191999"/>
              <a:gd name="connsiteY127" fmla="*/ 2016951 h 2083506"/>
              <a:gd name="connsiteX128" fmla="*/ 5471173 w 12191999"/>
              <a:gd name="connsiteY128" fmla="*/ 2018786 h 2083506"/>
              <a:gd name="connsiteX129" fmla="*/ 5340320 w 12191999"/>
              <a:gd name="connsiteY129" fmla="*/ 2037611 h 2083506"/>
              <a:gd name="connsiteX130" fmla="*/ 5254376 w 12191999"/>
              <a:gd name="connsiteY130" fmla="*/ 2042928 h 2083506"/>
              <a:gd name="connsiteX131" fmla="*/ 5258035 w 12191999"/>
              <a:gd name="connsiteY131" fmla="*/ 2035649 h 2083506"/>
              <a:gd name="connsiteX132" fmla="*/ 5230622 w 12191999"/>
              <a:gd name="connsiteY132" fmla="*/ 2024576 h 2083506"/>
              <a:gd name="connsiteX133" fmla="*/ 5026203 w 12191999"/>
              <a:gd name="connsiteY133" fmla="*/ 2030162 h 2083506"/>
              <a:gd name="connsiteX134" fmla="*/ 4973988 w 12191999"/>
              <a:gd name="connsiteY134" fmla="*/ 2026668 h 2083506"/>
              <a:gd name="connsiteX135" fmla="*/ 4928030 w 12191999"/>
              <a:gd name="connsiteY135" fmla="*/ 2033642 h 2083506"/>
              <a:gd name="connsiteX136" fmla="*/ 4908970 w 12191999"/>
              <a:gd name="connsiteY136" fmla="*/ 2030033 h 2083506"/>
              <a:gd name="connsiteX137" fmla="*/ 4905679 w 12191999"/>
              <a:gd name="connsiteY137" fmla="*/ 2029300 h 2083506"/>
              <a:gd name="connsiteX138" fmla="*/ 4892525 w 12191999"/>
              <a:gd name="connsiteY138" fmla="*/ 2028768 h 2083506"/>
              <a:gd name="connsiteX139" fmla="*/ 4888818 w 12191999"/>
              <a:gd name="connsiteY139" fmla="*/ 2025619 h 2083506"/>
              <a:gd name="connsiteX140" fmla="*/ 4869018 w 12191999"/>
              <a:gd name="connsiteY140" fmla="*/ 2022668 h 2083506"/>
              <a:gd name="connsiteX141" fmla="*/ 4844804 w 12191999"/>
              <a:gd name="connsiteY141" fmla="*/ 2022527 h 2083506"/>
              <a:gd name="connsiteX142" fmla="*/ 4758778 w 12191999"/>
              <a:gd name="connsiteY142" fmla="*/ 2021694 h 2083506"/>
              <a:gd name="connsiteX143" fmla="*/ 4744748 w 12191999"/>
              <a:gd name="connsiteY143" fmla="*/ 2023396 h 2083506"/>
              <a:gd name="connsiteX144" fmla="*/ 4698956 w 12191999"/>
              <a:gd name="connsiteY144" fmla="*/ 2020558 h 2083506"/>
              <a:gd name="connsiteX145" fmla="*/ 4658147 w 12191999"/>
              <a:gd name="connsiteY145" fmla="*/ 2019920 h 2083506"/>
              <a:gd name="connsiteX146" fmla="*/ 4631706 w 12191999"/>
              <a:gd name="connsiteY146" fmla="*/ 2021274 h 2083506"/>
              <a:gd name="connsiteX147" fmla="*/ 4624776 w 12191999"/>
              <a:gd name="connsiteY147" fmla="*/ 2020152 h 2083506"/>
              <a:gd name="connsiteX148" fmla="*/ 4598150 w 12191999"/>
              <a:gd name="connsiteY148" fmla="*/ 2019429 h 2083506"/>
              <a:gd name="connsiteX149" fmla="*/ 4584588 w 12191999"/>
              <a:gd name="connsiteY149" fmla="*/ 2021092 h 2083506"/>
              <a:gd name="connsiteX150" fmla="*/ 4571203 w 12191999"/>
              <a:gd name="connsiteY150" fmla="*/ 2017263 h 2083506"/>
              <a:gd name="connsiteX151" fmla="*/ 4567930 w 12191999"/>
              <a:gd name="connsiteY151" fmla="*/ 2014458 h 2083506"/>
              <a:gd name="connsiteX152" fmla="*/ 4548984 w 12191999"/>
              <a:gd name="connsiteY152" fmla="*/ 2015717 h 2083506"/>
              <a:gd name="connsiteX153" fmla="*/ 4533451 w 12191999"/>
              <a:gd name="connsiteY153" fmla="*/ 2012976 h 2083506"/>
              <a:gd name="connsiteX154" fmla="*/ 4519910 w 12191999"/>
              <a:gd name="connsiteY154" fmla="*/ 2014768 h 2083506"/>
              <a:gd name="connsiteX155" fmla="*/ 4514290 w 12191999"/>
              <a:gd name="connsiteY155" fmla="*/ 2014364 h 2083506"/>
              <a:gd name="connsiteX156" fmla="*/ 4500320 w 12191999"/>
              <a:gd name="connsiteY156" fmla="*/ 2013007 h 2083506"/>
              <a:gd name="connsiteX157" fmla="*/ 4476219 w 12191999"/>
              <a:gd name="connsiteY157" fmla="*/ 2009993 h 2083506"/>
              <a:gd name="connsiteX158" fmla="*/ 4468701 w 12191999"/>
              <a:gd name="connsiteY158" fmla="*/ 2009574 h 2083506"/>
              <a:gd name="connsiteX159" fmla="*/ 4452333 w 12191999"/>
              <a:gd name="connsiteY159" fmla="*/ 2004964 h 2083506"/>
              <a:gd name="connsiteX160" fmla="*/ 4420644 w 12191999"/>
              <a:gd name="connsiteY160" fmla="*/ 2001021 h 2083506"/>
              <a:gd name="connsiteX161" fmla="*/ 4364856 w 12191999"/>
              <a:gd name="connsiteY161" fmla="*/ 1987267 h 2083506"/>
              <a:gd name="connsiteX162" fmla="*/ 4332062 w 12191999"/>
              <a:gd name="connsiteY162" fmla="*/ 1980703 h 2083506"/>
              <a:gd name="connsiteX163" fmla="*/ 4309876 w 12191999"/>
              <a:gd name="connsiteY163" fmla="*/ 1974653 h 2083506"/>
              <a:gd name="connsiteX164" fmla="*/ 4244391 w 12191999"/>
              <a:gd name="connsiteY164" fmla="*/ 1966109 h 2083506"/>
              <a:gd name="connsiteX165" fmla="*/ 4132071 w 12191999"/>
              <a:gd name="connsiteY165" fmla="*/ 1954813 h 2083506"/>
              <a:gd name="connsiteX166" fmla="*/ 4109069 w 12191999"/>
              <a:gd name="connsiteY166" fmla="*/ 1951778 h 2083506"/>
              <a:gd name="connsiteX167" fmla="*/ 4092908 w 12191999"/>
              <a:gd name="connsiteY167" fmla="*/ 1946662 h 2083506"/>
              <a:gd name="connsiteX168" fmla="*/ 4092306 w 12191999"/>
              <a:gd name="connsiteY168" fmla="*/ 1943291 h 2083506"/>
              <a:gd name="connsiteX169" fmla="*/ 4080234 w 12191999"/>
              <a:gd name="connsiteY169" fmla="*/ 1941219 h 2083506"/>
              <a:gd name="connsiteX170" fmla="*/ 4077778 w 12191999"/>
              <a:gd name="connsiteY170" fmla="*/ 1940145 h 2083506"/>
              <a:gd name="connsiteX171" fmla="*/ 4062936 w 12191999"/>
              <a:gd name="connsiteY171" fmla="*/ 1934506 h 2083506"/>
              <a:gd name="connsiteX172" fmla="*/ 4012506 w 12191999"/>
              <a:gd name="connsiteY172" fmla="*/ 1935475 h 2083506"/>
              <a:gd name="connsiteX173" fmla="*/ 3965880 w 12191999"/>
              <a:gd name="connsiteY173" fmla="*/ 1925968 h 2083506"/>
              <a:gd name="connsiteX174" fmla="*/ 3765338 w 12191999"/>
              <a:gd name="connsiteY174" fmla="*/ 1906649 h 2083506"/>
              <a:gd name="connsiteX175" fmla="*/ 3749493 w 12191999"/>
              <a:gd name="connsiteY175" fmla="*/ 1893071 h 2083506"/>
              <a:gd name="connsiteX176" fmla="*/ 3672704 w 12191999"/>
              <a:gd name="connsiteY176" fmla="*/ 1881383 h 2083506"/>
              <a:gd name="connsiteX177" fmla="*/ 3530082 w 12191999"/>
              <a:gd name="connsiteY177" fmla="*/ 1883187 h 2083506"/>
              <a:gd name="connsiteX178" fmla="*/ 3387664 w 12191999"/>
              <a:gd name="connsiteY178" fmla="*/ 1862579 h 2083506"/>
              <a:gd name="connsiteX179" fmla="*/ 3371681 w 12191999"/>
              <a:gd name="connsiteY179" fmla="*/ 1865293 h 2083506"/>
              <a:gd name="connsiteX180" fmla="*/ 3355305 w 12191999"/>
              <a:gd name="connsiteY180" fmla="*/ 1865842 h 2083506"/>
              <a:gd name="connsiteX181" fmla="*/ 3353790 w 12191999"/>
              <a:gd name="connsiteY181" fmla="*/ 1865158 h 2083506"/>
              <a:gd name="connsiteX182" fmla="*/ 3336210 w 12191999"/>
              <a:gd name="connsiteY182" fmla="*/ 1863564 h 2083506"/>
              <a:gd name="connsiteX183" fmla="*/ 3331381 w 12191999"/>
              <a:gd name="connsiteY183" fmla="*/ 1864716 h 2083506"/>
              <a:gd name="connsiteX184" fmla="*/ 3319012 w 12191999"/>
              <a:gd name="connsiteY184" fmla="*/ 1864093 h 2083506"/>
              <a:gd name="connsiteX185" fmla="*/ 3293818 w 12191999"/>
              <a:gd name="connsiteY185" fmla="*/ 1864135 h 2083506"/>
              <a:gd name="connsiteX186" fmla="*/ 3289881 w 12191999"/>
              <a:gd name="connsiteY186" fmla="*/ 1862954 h 2083506"/>
              <a:gd name="connsiteX187" fmla="*/ 3253090 w 12191999"/>
              <a:gd name="connsiteY187" fmla="*/ 1861164 h 2083506"/>
              <a:gd name="connsiteX188" fmla="*/ 3252949 w 12191999"/>
              <a:gd name="connsiteY188" fmla="*/ 1860574 h 2083506"/>
              <a:gd name="connsiteX189" fmla="*/ 3244187 w 12191999"/>
              <a:gd name="connsiteY189" fmla="*/ 1857604 h 2083506"/>
              <a:gd name="connsiteX190" fmla="*/ 3246570 w 12191999"/>
              <a:gd name="connsiteY190" fmla="*/ 1852946 h 2083506"/>
              <a:gd name="connsiteX191" fmla="*/ 3237810 w 12191999"/>
              <a:gd name="connsiteY191" fmla="*/ 1853064 h 2083506"/>
              <a:gd name="connsiteX192" fmla="*/ 3230822 w 12191999"/>
              <a:gd name="connsiteY192" fmla="*/ 1855474 h 2083506"/>
              <a:gd name="connsiteX193" fmla="*/ 3136549 w 12191999"/>
              <a:gd name="connsiteY193" fmla="*/ 1874037 h 2083506"/>
              <a:gd name="connsiteX194" fmla="*/ 2845754 w 12191999"/>
              <a:gd name="connsiteY194" fmla="*/ 1910932 h 2083506"/>
              <a:gd name="connsiteX195" fmla="*/ 2786878 w 12191999"/>
              <a:gd name="connsiteY195" fmla="*/ 1917162 h 2083506"/>
              <a:gd name="connsiteX196" fmla="*/ 2725298 w 12191999"/>
              <a:gd name="connsiteY196" fmla="*/ 1912340 h 2083506"/>
              <a:gd name="connsiteX197" fmla="*/ 2697754 w 12191999"/>
              <a:gd name="connsiteY197" fmla="*/ 1914863 h 2083506"/>
              <a:gd name="connsiteX198" fmla="*/ 2568063 w 12191999"/>
              <a:gd name="connsiteY198" fmla="*/ 1936283 h 2083506"/>
              <a:gd name="connsiteX199" fmla="*/ 2489784 w 12191999"/>
              <a:gd name="connsiteY199" fmla="*/ 1943720 h 2083506"/>
              <a:gd name="connsiteX200" fmla="*/ 2458978 w 12191999"/>
              <a:gd name="connsiteY200" fmla="*/ 1938095 h 2083506"/>
              <a:gd name="connsiteX201" fmla="*/ 2318712 w 12191999"/>
              <a:gd name="connsiteY201" fmla="*/ 1934474 h 2083506"/>
              <a:gd name="connsiteX202" fmla="*/ 2268709 w 12191999"/>
              <a:gd name="connsiteY202" fmla="*/ 1940521 h 2083506"/>
              <a:gd name="connsiteX203" fmla="*/ 2264080 w 12191999"/>
              <a:gd name="connsiteY203" fmla="*/ 1941232 h 2083506"/>
              <a:gd name="connsiteX204" fmla="*/ 2254684 w 12191999"/>
              <a:gd name="connsiteY204" fmla="*/ 1943524 h 2083506"/>
              <a:gd name="connsiteX205" fmla="*/ 2252523 w 12191999"/>
              <a:gd name="connsiteY205" fmla="*/ 1943004 h 2083506"/>
              <a:gd name="connsiteX206" fmla="*/ 2173350 w 12191999"/>
              <a:gd name="connsiteY206" fmla="*/ 1929202 h 2083506"/>
              <a:gd name="connsiteX207" fmla="*/ 2155266 w 12191999"/>
              <a:gd name="connsiteY207" fmla="*/ 1920267 h 2083506"/>
              <a:gd name="connsiteX208" fmla="*/ 2091013 w 12191999"/>
              <a:gd name="connsiteY208" fmla="*/ 1914631 h 2083506"/>
              <a:gd name="connsiteX209" fmla="*/ 2030712 w 12191999"/>
              <a:gd name="connsiteY209" fmla="*/ 1897690 h 2083506"/>
              <a:gd name="connsiteX210" fmla="*/ 1908838 w 12191999"/>
              <a:gd name="connsiteY210" fmla="*/ 1892222 h 2083506"/>
              <a:gd name="connsiteX211" fmla="*/ 1877796 w 12191999"/>
              <a:gd name="connsiteY211" fmla="*/ 1883887 h 2083506"/>
              <a:gd name="connsiteX212" fmla="*/ 1875824 w 12191999"/>
              <a:gd name="connsiteY212" fmla="*/ 1879265 h 2083506"/>
              <a:gd name="connsiteX213" fmla="*/ 1823048 w 12191999"/>
              <a:gd name="connsiteY213" fmla="*/ 1881064 h 2083506"/>
              <a:gd name="connsiteX214" fmla="*/ 1765736 w 12191999"/>
              <a:gd name="connsiteY214" fmla="*/ 1856578 h 2083506"/>
              <a:gd name="connsiteX215" fmla="*/ 1725669 w 12191999"/>
              <a:gd name="connsiteY215" fmla="*/ 1833744 h 2083506"/>
              <a:gd name="connsiteX216" fmla="*/ 1725216 w 12191999"/>
              <a:gd name="connsiteY216" fmla="*/ 1829447 h 2083506"/>
              <a:gd name="connsiteX217" fmla="*/ 1721485 w 12191999"/>
              <a:gd name="connsiteY217" fmla="*/ 1828960 h 2083506"/>
              <a:gd name="connsiteX218" fmla="*/ 1717786 w 12191999"/>
              <a:gd name="connsiteY218" fmla="*/ 1832224 h 2083506"/>
              <a:gd name="connsiteX219" fmla="*/ 1689907 w 12191999"/>
              <a:gd name="connsiteY219" fmla="*/ 1825425 h 2083506"/>
              <a:gd name="connsiteX220" fmla="*/ 1688093 w 12191999"/>
              <a:gd name="connsiteY220" fmla="*/ 1817391 h 2083506"/>
              <a:gd name="connsiteX221" fmla="*/ 1496789 w 12191999"/>
              <a:gd name="connsiteY221" fmla="*/ 1805297 h 2083506"/>
              <a:gd name="connsiteX222" fmla="*/ 1392839 w 12191999"/>
              <a:gd name="connsiteY222" fmla="*/ 1758649 h 2083506"/>
              <a:gd name="connsiteX223" fmla="*/ 1360872 w 12191999"/>
              <a:gd name="connsiteY223" fmla="*/ 1752441 h 2083506"/>
              <a:gd name="connsiteX224" fmla="*/ 1313885 w 12191999"/>
              <a:gd name="connsiteY224" fmla="*/ 1731785 h 2083506"/>
              <a:gd name="connsiteX225" fmla="*/ 1247665 w 12191999"/>
              <a:gd name="connsiteY225" fmla="*/ 1727765 h 2083506"/>
              <a:gd name="connsiteX226" fmla="*/ 1196850 w 12191999"/>
              <a:gd name="connsiteY226" fmla="*/ 1729622 h 2083506"/>
              <a:gd name="connsiteX227" fmla="*/ 1168728 w 12191999"/>
              <a:gd name="connsiteY227" fmla="*/ 1728550 h 2083506"/>
              <a:gd name="connsiteX228" fmla="*/ 1096918 w 12191999"/>
              <a:gd name="connsiteY228" fmla="*/ 1721485 h 2083506"/>
              <a:gd name="connsiteX229" fmla="*/ 1094082 w 12191999"/>
              <a:gd name="connsiteY229" fmla="*/ 1720113 h 2083506"/>
              <a:gd name="connsiteX230" fmla="*/ 1040782 w 12191999"/>
              <a:gd name="connsiteY230" fmla="*/ 1721762 h 2083506"/>
              <a:gd name="connsiteX231" fmla="*/ 955980 w 12191999"/>
              <a:gd name="connsiteY231" fmla="*/ 1719289 h 2083506"/>
              <a:gd name="connsiteX232" fmla="*/ 926108 w 12191999"/>
              <a:gd name="connsiteY232" fmla="*/ 1715917 h 2083506"/>
              <a:gd name="connsiteX233" fmla="*/ 876049 w 12191999"/>
              <a:gd name="connsiteY233" fmla="*/ 1710422 h 2083506"/>
              <a:gd name="connsiteX234" fmla="*/ 839194 w 12191999"/>
              <a:gd name="connsiteY234" fmla="*/ 1700176 h 2083506"/>
              <a:gd name="connsiteX235" fmla="*/ 797112 w 12191999"/>
              <a:gd name="connsiteY235" fmla="*/ 1698014 h 2083506"/>
              <a:gd name="connsiteX236" fmla="*/ 786610 w 12191999"/>
              <a:gd name="connsiteY236" fmla="*/ 1705455 h 2083506"/>
              <a:gd name="connsiteX237" fmla="*/ 741833 w 12191999"/>
              <a:gd name="connsiteY237" fmla="*/ 1700566 h 2083506"/>
              <a:gd name="connsiteX238" fmla="*/ 673985 w 12191999"/>
              <a:gd name="connsiteY238" fmla="*/ 1692278 h 2083506"/>
              <a:gd name="connsiteX239" fmla="*/ 634665 w 12191999"/>
              <a:gd name="connsiteY239" fmla="*/ 1689550 h 2083506"/>
              <a:gd name="connsiteX240" fmla="*/ 527471 w 12191999"/>
              <a:gd name="connsiteY240" fmla="*/ 1679869 h 2083506"/>
              <a:gd name="connsiteX241" fmla="*/ 420260 w 12191999"/>
              <a:gd name="connsiteY241" fmla="*/ 1668475 h 2083506"/>
              <a:gd name="connsiteX242" fmla="*/ 357630 w 12191999"/>
              <a:gd name="connsiteY242" fmla="*/ 1652142 h 2083506"/>
              <a:gd name="connsiteX243" fmla="*/ 269407 w 12191999"/>
              <a:gd name="connsiteY243" fmla="*/ 1643812 h 2083506"/>
              <a:gd name="connsiteX244" fmla="*/ 254769 w 12191999"/>
              <a:gd name="connsiteY244" fmla="*/ 1641013 h 2083506"/>
              <a:gd name="connsiteX245" fmla="*/ 150763 w 12191999"/>
              <a:gd name="connsiteY245" fmla="*/ 1628143 h 2083506"/>
              <a:gd name="connsiteX246" fmla="*/ 29133 w 12191999"/>
              <a:gd name="connsiteY246" fmla="*/ 1626172 h 2083506"/>
              <a:gd name="connsiteX247" fmla="*/ 0 w 12191999"/>
              <a:gd name="connsiteY247" fmla="*/ 1619589 h 2083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</a:cxnLst>
            <a:rect l="l" t="t" r="r" b="b"/>
            <a:pathLst>
              <a:path w="12191999" h="2083506">
                <a:moveTo>
                  <a:pt x="0" y="0"/>
                </a:moveTo>
                <a:lnTo>
                  <a:pt x="9429748" y="0"/>
                </a:lnTo>
                <a:lnTo>
                  <a:pt x="9429748" y="1"/>
                </a:lnTo>
                <a:lnTo>
                  <a:pt x="12191999" y="1"/>
                </a:lnTo>
                <a:lnTo>
                  <a:pt x="12191999" y="1164372"/>
                </a:lnTo>
                <a:lnTo>
                  <a:pt x="12147852" y="1163783"/>
                </a:lnTo>
                <a:cubicBezTo>
                  <a:pt x="12063101" y="1189107"/>
                  <a:pt x="12045020" y="1156925"/>
                  <a:pt x="11993604" y="1153496"/>
                </a:cubicBezTo>
                <a:cubicBezTo>
                  <a:pt x="11954216" y="1165241"/>
                  <a:pt x="11911195" y="1167350"/>
                  <a:pt x="11865319" y="1176624"/>
                </a:cubicBezTo>
                <a:cubicBezTo>
                  <a:pt x="11822513" y="1184682"/>
                  <a:pt x="11766915" y="1201558"/>
                  <a:pt x="11718353" y="1209136"/>
                </a:cubicBezTo>
                <a:cubicBezTo>
                  <a:pt x="11675379" y="1217463"/>
                  <a:pt x="11638007" y="1216639"/>
                  <a:pt x="11609067" y="1218512"/>
                </a:cubicBezTo>
                <a:cubicBezTo>
                  <a:pt x="11597582" y="1221322"/>
                  <a:pt x="11554280" y="1243577"/>
                  <a:pt x="11545958" y="1240430"/>
                </a:cubicBezTo>
                <a:lnTo>
                  <a:pt x="11445770" y="1225780"/>
                </a:lnTo>
                <a:cubicBezTo>
                  <a:pt x="11425543" y="1230782"/>
                  <a:pt x="11413740" y="1222096"/>
                  <a:pt x="11398842" y="1227250"/>
                </a:cubicBezTo>
                <a:cubicBezTo>
                  <a:pt x="11367060" y="1233093"/>
                  <a:pt x="11269285" y="1263712"/>
                  <a:pt x="11240093" y="1266797"/>
                </a:cubicBezTo>
                <a:cubicBezTo>
                  <a:pt x="11197297" y="1273685"/>
                  <a:pt x="11181311" y="1272682"/>
                  <a:pt x="11141364" y="1288059"/>
                </a:cubicBezTo>
                <a:cubicBezTo>
                  <a:pt x="11099891" y="1305386"/>
                  <a:pt x="11051533" y="1319157"/>
                  <a:pt x="11015396" y="1353104"/>
                </a:cubicBezTo>
                <a:cubicBezTo>
                  <a:pt x="11009424" y="1362217"/>
                  <a:pt x="10992328" y="1361966"/>
                  <a:pt x="10973905" y="1365109"/>
                </a:cubicBezTo>
                <a:cubicBezTo>
                  <a:pt x="10955482" y="1368254"/>
                  <a:pt x="10907369" y="1372817"/>
                  <a:pt x="10904858" y="1371966"/>
                </a:cubicBezTo>
                <a:cubicBezTo>
                  <a:pt x="10880521" y="1379494"/>
                  <a:pt x="10873670" y="1399734"/>
                  <a:pt x="10827883" y="1410270"/>
                </a:cubicBezTo>
                <a:cubicBezTo>
                  <a:pt x="10790248" y="1415655"/>
                  <a:pt x="10724899" y="1420726"/>
                  <a:pt x="10690996" y="1426394"/>
                </a:cubicBezTo>
                <a:cubicBezTo>
                  <a:pt x="10676463" y="1423331"/>
                  <a:pt x="10634514" y="1436908"/>
                  <a:pt x="10624461" y="1444283"/>
                </a:cubicBezTo>
                <a:cubicBezTo>
                  <a:pt x="10601952" y="1468442"/>
                  <a:pt x="10536224" y="1460228"/>
                  <a:pt x="10517208" y="1478947"/>
                </a:cubicBezTo>
                <a:cubicBezTo>
                  <a:pt x="10509508" y="1482271"/>
                  <a:pt x="10505833" y="1468818"/>
                  <a:pt x="10497937" y="1469831"/>
                </a:cubicBezTo>
                <a:lnTo>
                  <a:pt x="10471201" y="1486037"/>
                </a:lnTo>
                <a:lnTo>
                  <a:pt x="10448263" y="1478223"/>
                </a:lnTo>
                <a:lnTo>
                  <a:pt x="10388089" y="1507175"/>
                </a:lnTo>
                <a:cubicBezTo>
                  <a:pt x="10350285" y="1513081"/>
                  <a:pt x="10383281" y="1526586"/>
                  <a:pt x="10333720" y="1515848"/>
                </a:cubicBezTo>
                <a:cubicBezTo>
                  <a:pt x="10286428" y="1526223"/>
                  <a:pt x="10174884" y="1550019"/>
                  <a:pt x="10104338" y="1569424"/>
                </a:cubicBezTo>
                <a:cubicBezTo>
                  <a:pt x="10066963" y="1581564"/>
                  <a:pt x="9967395" y="1605712"/>
                  <a:pt x="9910445" y="1632275"/>
                </a:cubicBezTo>
                <a:cubicBezTo>
                  <a:pt x="9856131" y="1644130"/>
                  <a:pt x="9831118" y="1689967"/>
                  <a:pt x="9770872" y="1688088"/>
                </a:cubicBezTo>
                <a:cubicBezTo>
                  <a:pt x="9769882" y="1691843"/>
                  <a:pt x="9737016" y="1697044"/>
                  <a:pt x="9733849" y="1700034"/>
                </a:cubicBezTo>
                <a:lnTo>
                  <a:pt x="9703714" y="1730093"/>
                </a:lnTo>
                <a:lnTo>
                  <a:pt x="9698351" y="1730377"/>
                </a:lnTo>
                <a:lnTo>
                  <a:pt x="9632895" y="1736363"/>
                </a:lnTo>
                <a:lnTo>
                  <a:pt x="9569107" y="1741010"/>
                </a:lnTo>
                <a:cubicBezTo>
                  <a:pt x="9558961" y="1745882"/>
                  <a:pt x="9548028" y="1750646"/>
                  <a:pt x="9536451" y="1755120"/>
                </a:cubicBezTo>
                <a:lnTo>
                  <a:pt x="9529385" y="1757515"/>
                </a:lnTo>
                <a:lnTo>
                  <a:pt x="9498527" y="1753117"/>
                </a:lnTo>
                <a:lnTo>
                  <a:pt x="9436642" y="1755478"/>
                </a:lnTo>
                <a:lnTo>
                  <a:pt x="9429748" y="1756317"/>
                </a:lnTo>
                <a:lnTo>
                  <a:pt x="9429748" y="1768745"/>
                </a:lnTo>
                <a:lnTo>
                  <a:pt x="9425802" y="1769273"/>
                </a:lnTo>
                <a:cubicBezTo>
                  <a:pt x="9390751" y="1773262"/>
                  <a:pt x="9371406" y="1773457"/>
                  <a:pt x="9349763" y="1776107"/>
                </a:cubicBezTo>
                <a:cubicBezTo>
                  <a:pt x="9314721" y="1782260"/>
                  <a:pt x="9277650" y="1796217"/>
                  <a:pt x="9256503" y="1800699"/>
                </a:cubicBezTo>
                <a:lnTo>
                  <a:pt x="9222873" y="1803003"/>
                </a:lnTo>
                <a:lnTo>
                  <a:pt x="9224095" y="1807355"/>
                </a:lnTo>
                <a:lnTo>
                  <a:pt x="9211603" y="1807675"/>
                </a:lnTo>
                <a:lnTo>
                  <a:pt x="9183719" y="1807781"/>
                </a:lnTo>
                <a:cubicBezTo>
                  <a:pt x="9166319" y="1808439"/>
                  <a:pt x="9117935" y="1807396"/>
                  <a:pt x="9100221" y="1808989"/>
                </a:cubicBezTo>
                <a:cubicBezTo>
                  <a:pt x="9095111" y="1813630"/>
                  <a:pt x="9087224" y="1816160"/>
                  <a:pt x="9077439" y="1817333"/>
                </a:cubicBezTo>
                <a:lnTo>
                  <a:pt x="9055889" y="1817464"/>
                </a:lnTo>
                <a:lnTo>
                  <a:pt x="8930912" y="1828648"/>
                </a:lnTo>
                <a:lnTo>
                  <a:pt x="8913729" y="1829483"/>
                </a:lnTo>
                <a:lnTo>
                  <a:pt x="8904423" y="1833234"/>
                </a:lnTo>
                <a:cubicBezTo>
                  <a:pt x="8897319" y="1833982"/>
                  <a:pt x="8876911" y="1833498"/>
                  <a:pt x="8871099" y="1833979"/>
                </a:cubicBezTo>
                <a:lnTo>
                  <a:pt x="8869557" y="1836113"/>
                </a:lnTo>
                <a:cubicBezTo>
                  <a:pt x="8851043" y="1839524"/>
                  <a:pt x="8781405" y="1850882"/>
                  <a:pt x="8760021" y="1854442"/>
                </a:cubicBezTo>
                <a:cubicBezTo>
                  <a:pt x="8755749" y="1851161"/>
                  <a:pt x="8746183" y="1856343"/>
                  <a:pt x="8741254" y="1857469"/>
                </a:cubicBezTo>
                <a:cubicBezTo>
                  <a:pt x="8740491" y="1855259"/>
                  <a:pt x="8728559" y="1854585"/>
                  <a:pt x="8725039" y="1856552"/>
                </a:cubicBezTo>
                <a:cubicBezTo>
                  <a:pt x="8641157" y="1867333"/>
                  <a:pt x="8683145" y="1845054"/>
                  <a:pt x="8635265" y="1859168"/>
                </a:cubicBezTo>
                <a:cubicBezTo>
                  <a:pt x="8626795" y="1860103"/>
                  <a:pt x="8619931" y="1859212"/>
                  <a:pt x="8613911" y="1857561"/>
                </a:cubicBezTo>
                <a:lnTo>
                  <a:pt x="8604931" y="1854170"/>
                </a:lnTo>
                <a:lnTo>
                  <a:pt x="8570171" y="1860579"/>
                </a:lnTo>
                <a:cubicBezTo>
                  <a:pt x="8553049" y="1862813"/>
                  <a:pt x="8535028" y="1864294"/>
                  <a:pt x="8516537" y="1864971"/>
                </a:cubicBezTo>
                <a:cubicBezTo>
                  <a:pt x="8512388" y="1860455"/>
                  <a:pt x="8497874" y="1866870"/>
                  <a:pt x="8491046" y="1868141"/>
                </a:cubicBezTo>
                <a:cubicBezTo>
                  <a:pt x="8490975" y="1865191"/>
                  <a:pt x="8475847" y="1863778"/>
                  <a:pt x="8470478" y="1866216"/>
                </a:cubicBezTo>
                <a:cubicBezTo>
                  <a:pt x="8357654" y="1876758"/>
                  <a:pt x="8421139" y="1849210"/>
                  <a:pt x="8353433" y="1865729"/>
                </a:cubicBezTo>
                <a:lnTo>
                  <a:pt x="8347675" y="1865075"/>
                </a:lnTo>
                <a:lnTo>
                  <a:pt x="8343939" y="1865677"/>
                </a:lnTo>
                <a:cubicBezTo>
                  <a:pt x="8309852" y="1870841"/>
                  <a:pt x="8272587" y="1875809"/>
                  <a:pt x="8221566" y="1881148"/>
                </a:cubicBezTo>
                <a:cubicBezTo>
                  <a:pt x="8158043" y="1892960"/>
                  <a:pt x="8095547" y="1914042"/>
                  <a:pt x="8066095" y="1919902"/>
                </a:cubicBezTo>
                <a:cubicBezTo>
                  <a:pt x="8058949" y="1919234"/>
                  <a:pt x="8051921" y="1917862"/>
                  <a:pt x="8044849" y="1916308"/>
                </a:cubicBezTo>
                <a:lnTo>
                  <a:pt x="8041142" y="1915506"/>
                </a:lnTo>
                <a:lnTo>
                  <a:pt x="8022159" y="1911521"/>
                </a:lnTo>
                <a:lnTo>
                  <a:pt x="7944932" y="1917265"/>
                </a:lnTo>
                <a:lnTo>
                  <a:pt x="7879011" y="1928570"/>
                </a:lnTo>
                <a:lnTo>
                  <a:pt x="7865529" y="1934399"/>
                </a:lnTo>
                <a:lnTo>
                  <a:pt x="7774801" y="1947969"/>
                </a:lnTo>
                <a:lnTo>
                  <a:pt x="7748398" y="1955982"/>
                </a:lnTo>
                <a:lnTo>
                  <a:pt x="7740684" y="1955717"/>
                </a:lnTo>
                <a:cubicBezTo>
                  <a:pt x="7728362" y="1958584"/>
                  <a:pt x="7714099" y="1968442"/>
                  <a:pt x="7712976" y="1960442"/>
                </a:cubicBezTo>
                <a:lnTo>
                  <a:pt x="7699956" y="1966104"/>
                </a:lnTo>
                <a:lnTo>
                  <a:pt x="7684158" y="1962927"/>
                </a:lnTo>
                <a:cubicBezTo>
                  <a:pt x="7674684" y="1962643"/>
                  <a:pt x="7652105" y="1963177"/>
                  <a:pt x="7643109" y="1964400"/>
                </a:cubicBezTo>
                <a:lnTo>
                  <a:pt x="7630180" y="1970266"/>
                </a:lnTo>
                <a:lnTo>
                  <a:pt x="7609131" y="1971774"/>
                </a:lnTo>
                <a:cubicBezTo>
                  <a:pt x="7596694" y="1971644"/>
                  <a:pt x="7570258" y="1969757"/>
                  <a:pt x="7555555" y="1969491"/>
                </a:cubicBezTo>
                <a:cubicBezTo>
                  <a:pt x="7541460" y="1966540"/>
                  <a:pt x="7530571" y="1964848"/>
                  <a:pt x="7520919" y="1970177"/>
                </a:cubicBezTo>
                <a:cubicBezTo>
                  <a:pt x="7500295" y="1966884"/>
                  <a:pt x="7480780" y="1949401"/>
                  <a:pt x="7456258" y="1960468"/>
                </a:cubicBezTo>
                <a:cubicBezTo>
                  <a:pt x="7434946" y="1957506"/>
                  <a:pt x="7435772" y="1952500"/>
                  <a:pt x="7393047" y="1952408"/>
                </a:cubicBezTo>
                <a:cubicBezTo>
                  <a:pt x="7356520" y="1952860"/>
                  <a:pt x="7236307" y="1958626"/>
                  <a:pt x="7199912" y="1959913"/>
                </a:cubicBezTo>
                <a:cubicBezTo>
                  <a:pt x="7176501" y="1959942"/>
                  <a:pt x="7160098" y="1958343"/>
                  <a:pt x="7146774" y="1956641"/>
                </a:cubicBezTo>
                <a:lnTo>
                  <a:pt x="7122244" y="1953891"/>
                </a:lnTo>
                <a:lnTo>
                  <a:pt x="7032241" y="1962723"/>
                </a:lnTo>
                <a:cubicBezTo>
                  <a:pt x="6997214" y="1965198"/>
                  <a:pt x="6963725" y="1968396"/>
                  <a:pt x="6941492" y="1976868"/>
                </a:cubicBezTo>
                <a:cubicBezTo>
                  <a:pt x="6947015" y="1970398"/>
                  <a:pt x="6923088" y="1965379"/>
                  <a:pt x="6906514" y="1968589"/>
                </a:cubicBezTo>
                <a:cubicBezTo>
                  <a:pt x="6925890" y="1943204"/>
                  <a:pt x="6840983" y="1991464"/>
                  <a:pt x="6826395" y="1974141"/>
                </a:cubicBezTo>
                <a:cubicBezTo>
                  <a:pt x="6825676" y="1990223"/>
                  <a:pt x="6751393" y="2017492"/>
                  <a:pt x="6716431" y="2004297"/>
                </a:cubicBezTo>
                <a:cubicBezTo>
                  <a:pt x="6663167" y="2007518"/>
                  <a:pt x="6625450" y="2020811"/>
                  <a:pt x="6569607" y="2015496"/>
                </a:cubicBezTo>
                <a:cubicBezTo>
                  <a:pt x="6567874" y="2017648"/>
                  <a:pt x="6565034" y="2019449"/>
                  <a:pt x="6561430" y="2020996"/>
                </a:cubicBezTo>
                <a:lnTo>
                  <a:pt x="6549371" y="2024747"/>
                </a:lnTo>
                <a:lnTo>
                  <a:pt x="6547040" y="2024474"/>
                </a:lnTo>
                <a:cubicBezTo>
                  <a:pt x="6537882" y="2024425"/>
                  <a:pt x="6533193" y="2025332"/>
                  <a:pt x="6530482" y="2026659"/>
                </a:cubicBezTo>
                <a:lnTo>
                  <a:pt x="6528565" y="2028600"/>
                </a:lnTo>
                <a:lnTo>
                  <a:pt x="6517741" y="2030558"/>
                </a:lnTo>
                <a:lnTo>
                  <a:pt x="6497855" y="2035650"/>
                </a:lnTo>
                <a:lnTo>
                  <a:pt x="6492785" y="2035444"/>
                </a:lnTo>
                <a:lnTo>
                  <a:pt x="6460692" y="2041321"/>
                </a:lnTo>
                <a:lnTo>
                  <a:pt x="6459609" y="2040851"/>
                </a:lnTo>
                <a:cubicBezTo>
                  <a:pt x="6456451" y="2039933"/>
                  <a:pt x="6452734" y="2039508"/>
                  <a:pt x="6447765" y="2040102"/>
                </a:cubicBezTo>
                <a:cubicBezTo>
                  <a:pt x="6446007" y="2031126"/>
                  <a:pt x="6441093" y="2037380"/>
                  <a:pt x="6426590" y="2039928"/>
                </a:cubicBezTo>
                <a:cubicBezTo>
                  <a:pt x="6423606" y="2033241"/>
                  <a:pt x="6413230" y="2032925"/>
                  <a:pt x="6401693" y="2033537"/>
                </a:cubicBezTo>
                <a:lnTo>
                  <a:pt x="6387141" y="2033161"/>
                </a:lnTo>
                <a:lnTo>
                  <a:pt x="6357846" y="2036782"/>
                </a:lnTo>
                <a:lnTo>
                  <a:pt x="6342914" y="2037585"/>
                </a:lnTo>
                <a:lnTo>
                  <a:pt x="6336300" y="2038781"/>
                </a:lnTo>
                <a:lnTo>
                  <a:pt x="6317178" y="2038968"/>
                </a:lnTo>
                <a:lnTo>
                  <a:pt x="6161427" y="2047338"/>
                </a:lnTo>
                <a:cubicBezTo>
                  <a:pt x="6147824" y="2057658"/>
                  <a:pt x="6118908" y="2077615"/>
                  <a:pt x="6097339" y="2082438"/>
                </a:cubicBezTo>
                <a:cubicBezTo>
                  <a:pt x="6090149" y="2084046"/>
                  <a:pt x="6083776" y="2083972"/>
                  <a:pt x="6079059" y="2081299"/>
                </a:cubicBezTo>
                <a:cubicBezTo>
                  <a:pt x="6063900" y="2082334"/>
                  <a:pt x="6011621" y="2084537"/>
                  <a:pt x="5998439" y="2070958"/>
                </a:cubicBezTo>
                <a:cubicBezTo>
                  <a:pt x="5976443" y="2071759"/>
                  <a:pt x="5925514" y="2069780"/>
                  <a:pt x="5904290" y="2070255"/>
                </a:cubicBezTo>
                <a:cubicBezTo>
                  <a:pt x="5871515" y="2066244"/>
                  <a:pt x="5843986" y="2088249"/>
                  <a:pt x="5814867" y="2079032"/>
                </a:cubicBezTo>
                <a:cubicBezTo>
                  <a:pt x="5792003" y="2070559"/>
                  <a:pt x="5750009" y="2076273"/>
                  <a:pt x="5725743" y="2070558"/>
                </a:cubicBezTo>
                <a:cubicBezTo>
                  <a:pt x="5716432" y="2058355"/>
                  <a:pt x="5667424" y="2047322"/>
                  <a:pt x="5650546" y="2052412"/>
                </a:cubicBezTo>
                <a:cubicBezTo>
                  <a:pt x="5614627" y="2046084"/>
                  <a:pt x="5608108" y="2028306"/>
                  <a:pt x="5581284" y="2023175"/>
                </a:cubicBezTo>
                <a:lnTo>
                  <a:pt x="5572593" y="2018391"/>
                </a:lnTo>
                <a:lnTo>
                  <a:pt x="5548580" y="2016951"/>
                </a:lnTo>
                <a:cubicBezTo>
                  <a:pt x="5523726" y="2017783"/>
                  <a:pt x="5498337" y="2019663"/>
                  <a:pt x="5471173" y="2018786"/>
                </a:cubicBezTo>
                <a:cubicBezTo>
                  <a:pt x="5447687" y="2003020"/>
                  <a:pt x="5353807" y="2022324"/>
                  <a:pt x="5340320" y="2037611"/>
                </a:cubicBezTo>
                <a:cubicBezTo>
                  <a:pt x="5340015" y="2024215"/>
                  <a:pt x="5271937" y="2042455"/>
                  <a:pt x="5254376" y="2042928"/>
                </a:cubicBezTo>
                <a:cubicBezTo>
                  <a:pt x="5248522" y="2043086"/>
                  <a:pt x="5248281" y="2041270"/>
                  <a:pt x="5258035" y="2035649"/>
                </a:cubicBezTo>
                <a:cubicBezTo>
                  <a:pt x="5239374" y="2037214"/>
                  <a:pt x="5220112" y="2030252"/>
                  <a:pt x="5230622" y="2024576"/>
                </a:cubicBezTo>
                <a:cubicBezTo>
                  <a:pt x="5173932" y="2036724"/>
                  <a:pt x="5090262" y="2024645"/>
                  <a:pt x="5026203" y="2030162"/>
                </a:cubicBezTo>
                <a:cubicBezTo>
                  <a:pt x="4991280" y="2016814"/>
                  <a:pt x="5010212" y="2029164"/>
                  <a:pt x="4973988" y="2026668"/>
                </a:cubicBezTo>
                <a:cubicBezTo>
                  <a:pt x="4983896" y="2038955"/>
                  <a:pt x="4930012" y="2019774"/>
                  <a:pt x="4928030" y="2033642"/>
                </a:cubicBezTo>
                <a:cubicBezTo>
                  <a:pt x="4921501" y="2032748"/>
                  <a:pt x="4915238" y="2031445"/>
                  <a:pt x="4908970" y="2030033"/>
                </a:cubicBezTo>
                <a:lnTo>
                  <a:pt x="4905679" y="2029300"/>
                </a:lnTo>
                <a:lnTo>
                  <a:pt x="4892525" y="2028768"/>
                </a:lnTo>
                <a:lnTo>
                  <a:pt x="4888818" y="2025619"/>
                </a:lnTo>
                <a:lnTo>
                  <a:pt x="4869018" y="2022668"/>
                </a:lnTo>
                <a:cubicBezTo>
                  <a:pt x="4861602" y="2022028"/>
                  <a:pt x="4853622" y="2021880"/>
                  <a:pt x="4844804" y="2022527"/>
                </a:cubicBezTo>
                <a:cubicBezTo>
                  <a:pt x="4823110" y="2028022"/>
                  <a:pt x="4789330" y="2021287"/>
                  <a:pt x="4758778" y="2021694"/>
                </a:cubicBezTo>
                <a:lnTo>
                  <a:pt x="4744748" y="2023396"/>
                </a:lnTo>
                <a:lnTo>
                  <a:pt x="4698956" y="2020558"/>
                </a:lnTo>
                <a:cubicBezTo>
                  <a:pt x="4685921" y="2020008"/>
                  <a:pt x="4672392" y="2019718"/>
                  <a:pt x="4658147" y="2019920"/>
                </a:cubicBezTo>
                <a:lnTo>
                  <a:pt x="4631706" y="2021274"/>
                </a:lnTo>
                <a:lnTo>
                  <a:pt x="4624776" y="2020152"/>
                </a:lnTo>
                <a:cubicBezTo>
                  <a:pt x="4612703" y="2020277"/>
                  <a:pt x="4596727" y="2024226"/>
                  <a:pt x="4598150" y="2019429"/>
                </a:cubicBezTo>
                <a:lnTo>
                  <a:pt x="4584588" y="2021092"/>
                </a:lnTo>
                <a:lnTo>
                  <a:pt x="4571203" y="2017263"/>
                </a:lnTo>
                <a:cubicBezTo>
                  <a:pt x="4569736" y="2016374"/>
                  <a:pt x="4568633" y="2015427"/>
                  <a:pt x="4567930" y="2014458"/>
                </a:cubicBezTo>
                <a:lnTo>
                  <a:pt x="4548984" y="2015717"/>
                </a:lnTo>
                <a:lnTo>
                  <a:pt x="4533451" y="2012976"/>
                </a:lnTo>
                <a:lnTo>
                  <a:pt x="4519910" y="2014768"/>
                </a:lnTo>
                <a:lnTo>
                  <a:pt x="4514290" y="2014364"/>
                </a:lnTo>
                <a:lnTo>
                  <a:pt x="4500320" y="2013007"/>
                </a:lnTo>
                <a:cubicBezTo>
                  <a:pt x="4493159" y="2012056"/>
                  <a:pt x="4485144" y="2010910"/>
                  <a:pt x="4476219" y="2009993"/>
                </a:cubicBezTo>
                <a:lnTo>
                  <a:pt x="4468701" y="2009574"/>
                </a:lnTo>
                <a:lnTo>
                  <a:pt x="4452333" y="2004964"/>
                </a:lnTo>
                <a:cubicBezTo>
                  <a:pt x="4440422" y="2001479"/>
                  <a:pt x="4431048" y="1999130"/>
                  <a:pt x="4420644" y="2001021"/>
                </a:cubicBezTo>
                <a:cubicBezTo>
                  <a:pt x="4402911" y="1996519"/>
                  <a:pt x="4390524" y="1983900"/>
                  <a:pt x="4364856" y="1987267"/>
                </a:cubicBezTo>
                <a:cubicBezTo>
                  <a:pt x="4372645" y="1981550"/>
                  <a:pt x="4336350" y="1986575"/>
                  <a:pt x="4332062" y="1980703"/>
                </a:cubicBezTo>
                <a:cubicBezTo>
                  <a:pt x="4330083" y="1975974"/>
                  <a:pt x="4318612" y="1976397"/>
                  <a:pt x="4309876" y="1974653"/>
                </a:cubicBezTo>
                <a:cubicBezTo>
                  <a:pt x="4303650" y="1969824"/>
                  <a:pt x="4259693" y="1965414"/>
                  <a:pt x="4244391" y="1966109"/>
                </a:cubicBezTo>
                <a:cubicBezTo>
                  <a:pt x="4201255" y="1970914"/>
                  <a:pt x="4166558" y="1951471"/>
                  <a:pt x="4132071" y="1954813"/>
                </a:cubicBezTo>
                <a:cubicBezTo>
                  <a:pt x="4123041" y="1954358"/>
                  <a:pt x="4115554" y="1953263"/>
                  <a:pt x="4109069" y="1951778"/>
                </a:cubicBezTo>
                <a:lnTo>
                  <a:pt x="4092908" y="1946662"/>
                </a:lnTo>
                <a:cubicBezTo>
                  <a:pt x="4092707" y="1945539"/>
                  <a:pt x="4092506" y="1944415"/>
                  <a:pt x="4092306" y="1943291"/>
                </a:cubicBezTo>
                <a:lnTo>
                  <a:pt x="4080234" y="1941219"/>
                </a:lnTo>
                <a:lnTo>
                  <a:pt x="4077778" y="1940145"/>
                </a:lnTo>
                <a:cubicBezTo>
                  <a:pt x="4073105" y="1938081"/>
                  <a:pt x="4068339" y="1936119"/>
                  <a:pt x="4062936" y="1934506"/>
                </a:cubicBezTo>
                <a:cubicBezTo>
                  <a:pt x="4048082" y="1947155"/>
                  <a:pt x="4014523" y="1922869"/>
                  <a:pt x="4012506" y="1935475"/>
                </a:cubicBezTo>
                <a:cubicBezTo>
                  <a:pt x="3980228" y="1928812"/>
                  <a:pt x="3986775" y="1942559"/>
                  <a:pt x="3965880" y="1925968"/>
                </a:cubicBezTo>
                <a:cubicBezTo>
                  <a:pt x="3899515" y="1923414"/>
                  <a:pt x="3830855" y="1902158"/>
                  <a:pt x="3765338" y="1906649"/>
                </a:cubicBezTo>
                <a:cubicBezTo>
                  <a:pt x="3780686" y="1902635"/>
                  <a:pt x="3768784" y="1893856"/>
                  <a:pt x="3749493" y="1893071"/>
                </a:cubicBezTo>
                <a:cubicBezTo>
                  <a:pt x="3807776" y="1876857"/>
                  <a:pt x="3656400" y="1898030"/>
                  <a:pt x="3672704" y="1881383"/>
                </a:cubicBezTo>
                <a:cubicBezTo>
                  <a:pt x="3645532" y="1893973"/>
                  <a:pt x="3537791" y="1900656"/>
                  <a:pt x="3530082" y="1883187"/>
                </a:cubicBezTo>
                <a:cubicBezTo>
                  <a:pt x="3479808" y="1875044"/>
                  <a:pt x="3426017" y="1877998"/>
                  <a:pt x="3387664" y="1862579"/>
                </a:cubicBezTo>
                <a:cubicBezTo>
                  <a:pt x="3382649" y="1863935"/>
                  <a:pt x="3377277" y="1864791"/>
                  <a:pt x="3371681" y="1865293"/>
                </a:cubicBezTo>
                <a:lnTo>
                  <a:pt x="3355305" y="1865842"/>
                </a:lnTo>
                <a:lnTo>
                  <a:pt x="3353790" y="1865158"/>
                </a:lnTo>
                <a:cubicBezTo>
                  <a:pt x="3346144" y="1863282"/>
                  <a:pt x="3340687" y="1863057"/>
                  <a:pt x="3336210" y="1863564"/>
                </a:cubicBezTo>
                <a:lnTo>
                  <a:pt x="3331381" y="1864716"/>
                </a:lnTo>
                <a:lnTo>
                  <a:pt x="3319012" y="1864093"/>
                </a:lnTo>
                <a:lnTo>
                  <a:pt x="3293818" y="1864135"/>
                </a:lnTo>
                <a:lnTo>
                  <a:pt x="3289881" y="1862954"/>
                </a:lnTo>
                <a:lnTo>
                  <a:pt x="3253090" y="1861164"/>
                </a:lnTo>
                <a:cubicBezTo>
                  <a:pt x="3253042" y="1860968"/>
                  <a:pt x="3252996" y="1860771"/>
                  <a:pt x="3252949" y="1860574"/>
                </a:cubicBezTo>
                <a:cubicBezTo>
                  <a:pt x="3251799" y="1859213"/>
                  <a:pt x="3249368" y="1858131"/>
                  <a:pt x="3244187" y="1857604"/>
                </a:cubicBezTo>
                <a:cubicBezTo>
                  <a:pt x="3250860" y="1853873"/>
                  <a:pt x="3250577" y="1852999"/>
                  <a:pt x="3246570" y="1852946"/>
                </a:cubicBezTo>
                <a:lnTo>
                  <a:pt x="3237810" y="1853064"/>
                </a:lnTo>
                <a:lnTo>
                  <a:pt x="3230822" y="1855474"/>
                </a:lnTo>
                <a:cubicBezTo>
                  <a:pt x="3206812" y="1862286"/>
                  <a:pt x="3176733" y="1868865"/>
                  <a:pt x="3136549" y="1874037"/>
                </a:cubicBezTo>
                <a:cubicBezTo>
                  <a:pt x="3081163" y="1880168"/>
                  <a:pt x="2902557" y="1900580"/>
                  <a:pt x="2845754" y="1910932"/>
                </a:cubicBezTo>
                <a:cubicBezTo>
                  <a:pt x="2860822" y="1944376"/>
                  <a:pt x="2813389" y="1905358"/>
                  <a:pt x="2786878" y="1917162"/>
                </a:cubicBezTo>
                <a:cubicBezTo>
                  <a:pt x="2766803" y="1917398"/>
                  <a:pt x="2741628" y="1915886"/>
                  <a:pt x="2725298" y="1912340"/>
                </a:cubicBezTo>
                <a:cubicBezTo>
                  <a:pt x="2716680" y="1911427"/>
                  <a:pt x="2707572" y="1911972"/>
                  <a:pt x="2697754" y="1914863"/>
                </a:cubicBezTo>
                <a:cubicBezTo>
                  <a:pt x="2667185" y="1939014"/>
                  <a:pt x="2622149" y="1926211"/>
                  <a:pt x="2568063" y="1936283"/>
                </a:cubicBezTo>
                <a:cubicBezTo>
                  <a:pt x="2552625" y="1932001"/>
                  <a:pt x="2502682" y="1953378"/>
                  <a:pt x="2489784" y="1943720"/>
                </a:cubicBezTo>
                <a:cubicBezTo>
                  <a:pt x="2478524" y="1943155"/>
                  <a:pt x="2467418" y="1949411"/>
                  <a:pt x="2458978" y="1938095"/>
                </a:cubicBezTo>
                <a:cubicBezTo>
                  <a:pt x="2417552" y="1934639"/>
                  <a:pt x="2366376" y="1931293"/>
                  <a:pt x="2318712" y="1934474"/>
                </a:cubicBezTo>
                <a:cubicBezTo>
                  <a:pt x="2296029" y="1936526"/>
                  <a:pt x="2282069" y="1938434"/>
                  <a:pt x="2268709" y="1940521"/>
                </a:cubicBezTo>
                <a:lnTo>
                  <a:pt x="2264080" y="1941232"/>
                </a:lnTo>
                <a:lnTo>
                  <a:pt x="2254684" y="1943524"/>
                </a:lnTo>
                <a:lnTo>
                  <a:pt x="2252523" y="1943004"/>
                </a:lnTo>
                <a:lnTo>
                  <a:pt x="2173350" y="1929202"/>
                </a:lnTo>
                <a:lnTo>
                  <a:pt x="2155266" y="1920267"/>
                </a:lnTo>
                <a:lnTo>
                  <a:pt x="2091013" y="1914631"/>
                </a:lnTo>
                <a:cubicBezTo>
                  <a:pt x="2033357" y="1920614"/>
                  <a:pt x="2070513" y="1905065"/>
                  <a:pt x="2030712" y="1897690"/>
                </a:cubicBezTo>
                <a:cubicBezTo>
                  <a:pt x="1994539" y="1893055"/>
                  <a:pt x="1958569" y="1883188"/>
                  <a:pt x="1908838" y="1892222"/>
                </a:cubicBezTo>
                <a:cubicBezTo>
                  <a:pt x="1897236" y="1896147"/>
                  <a:pt x="1883338" y="1892415"/>
                  <a:pt x="1877796" y="1883887"/>
                </a:cubicBezTo>
                <a:cubicBezTo>
                  <a:pt x="1876842" y="1882419"/>
                  <a:pt x="1876177" y="1880863"/>
                  <a:pt x="1875824" y="1879265"/>
                </a:cubicBezTo>
                <a:cubicBezTo>
                  <a:pt x="1843474" y="1887199"/>
                  <a:pt x="1841511" y="1873818"/>
                  <a:pt x="1823048" y="1881064"/>
                </a:cubicBezTo>
                <a:cubicBezTo>
                  <a:pt x="1792640" y="1872164"/>
                  <a:pt x="1782358" y="1850450"/>
                  <a:pt x="1765736" y="1856578"/>
                </a:cubicBezTo>
                <a:cubicBezTo>
                  <a:pt x="1753024" y="1849107"/>
                  <a:pt x="1745932" y="1828316"/>
                  <a:pt x="1725669" y="1833744"/>
                </a:cubicBezTo>
                <a:cubicBezTo>
                  <a:pt x="1727428" y="1831405"/>
                  <a:pt x="1726953" y="1830157"/>
                  <a:pt x="1725216" y="1829447"/>
                </a:cubicBezTo>
                <a:lnTo>
                  <a:pt x="1721485" y="1828960"/>
                </a:lnTo>
                <a:lnTo>
                  <a:pt x="1717786" y="1832224"/>
                </a:lnTo>
                <a:cubicBezTo>
                  <a:pt x="1703445" y="1843277"/>
                  <a:pt x="1706547" y="1827935"/>
                  <a:pt x="1689907" y="1825425"/>
                </a:cubicBezTo>
                <a:cubicBezTo>
                  <a:pt x="1682338" y="1823445"/>
                  <a:pt x="1685181" y="1820226"/>
                  <a:pt x="1688093" y="1817391"/>
                </a:cubicBezTo>
                <a:lnTo>
                  <a:pt x="1496789" y="1805297"/>
                </a:lnTo>
                <a:cubicBezTo>
                  <a:pt x="1463551" y="1793913"/>
                  <a:pt x="1426345" y="1786892"/>
                  <a:pt x="1392839" y="1758649"/>
                </a:cubicBezTo>
                <a:cubicBezTo>
                  <a:pt x="1386461" y="1750573"/>
                  <a:pt x="1374031" y="1756918"/>
                  <a:pt x="1360872" y="1752441"/>
                </a:cubicBezTo>
                <a:cubicBezTo>
                  <a:pt x="1347711" y="1747963"/>
                  <a:pt x="1332751" y="1735898"/>
                  <a:pt x="1313885" y="1731785"/>
                </a:cubicBezTo>
                <a:cubicBezTo>
                  <a:pt x="1281989" y="1726305"/>
                  <a:pt x="1256405" y="1739744"/>
                  <a:pt x="1247665" y="1727765"/>
                </a:cubicBezTo>
                <a:cubicBezTo>
                  <a:pt x="1231363" y="1728538"/>
                  <a:pt x="1209120" y="1742556"/>
                  <a:pt x="1196850" y="1729622"/>
                </a:cubicBezTo>
                <a:cubicBezTo>
                  <a:pt x="1195195" y="1740224"/>
                  <a:pt x="1178147" y="1721561"/>
                  <a:pt x="1168728" y="1728550"/>
                </a:cubicBezTo>
                <a:cubicBezTo>
                  <a:pt x="1152073" y="1727193"/>
                  <a:pt x="1122804" y="1725926"/>
                  <a:pt x="1096918" y="1721485"/>
                </a:cubicBezTo>
                <a:lnTo>
                  <a:pt x="1094082" y="1720113"/>
                </a:lnTo>
                <a:lnTo>
                  <a:pt x="1040782" y="1721762"/>
                </a:lnTo>
                <a:cubicBezTo>
                  <a:pt x="987172" y="1722352"/>
                  <a:pt x="1023272" y="1708707"/>
                  <a:pt x="955980" y="1719289"/>
                </a:cubicBezTo>
                <a:cubicBezTo>
                  <a:pt x="948995" y="1714208"/>
                  <a:pt x="940521" y="1713816"/>
                  <a:pt x="926108" y="1715917"/>
                </a:cubicBezTo>
                <a:cubicBezTo>
                  <a:pt x="900077" y="1715834"/>
                  <a:pt x="902688" y="1703436"/>
                  <a:pt x="876049" y="1710422"/>
                </a:cubicBezTo>
                <a:cubicBezTo>
                  <a:pt x="881084" y="1703830"/>
                  <a:pt x="826830" y="1706893"/>
                  <a:pt x="839194" y="1700176"/>
                </a:cubicBezTo>
                <a:cubicBezTo>
                  <a:pt x="822548" y="1693764"/>
                  <a:pt x="813674" y="1703628"/>
                  <a:pt x="797112" y="1698014"/>
                </a:cubicBezTo>
                <a:cubicBezTo>
                  <a:pt x="778195" y="1696418"/>
                  <a:pt x="807647" y="1705364"/>
                  <a:pt x="786610" y="1705455"/>
                </a:cubicBezTo>
                <a:cubicBezTo>
                  <a:pt x="761170" y="1704357"/>
                  <a:pt x="760599" y="1716610"/>
                  <a:pt x="741833" y="1700566"/>
                </a:cubicBezTo>
                <a:lnTo>
                  <a:pt x="673985" y="1692278"/>
                </a:lnTo>
                <a:cubicBezTo>
                  <a:pt x="658515" y="1695829"/>
                  <a:pt x="646395" y="1693620"/>
                  <a:pt x="634665" y="1689550"/>
                </a:cubicBezTo>
                <a:cubicBezTo>
                  <a:pt x="599149" y="1689690"/>
                  <a:pt x="567176" y="1683160"/>
                  <a:pt x="527471" y="1679869"/>
                </a:cubicBezTo>
                <a:cubicBezTo>
                  <a:pt x="484099" y="1683240"/>
                  <a:pt x="462693" y="1671949"/>
                  <a:pt x="420260" y="1668475"/>
                </a:cubicBezTo>
                <a:cubicBezTo>
                  <a:pt x="377482" y="1677390"/>
                  <a:pt x="393500" y="1652730"/>
                  <a:pt x="357630" y="1652142"/>
                </a:cubicBezTo>
                <a:cubicBezTo>
                  <a:pt x="298692" y="1659518"/>
                  <a:pt x="359631" y="1643849"/>
                  <a:pt x="269407" y="1643812"/>
                </a:cubicBezTo>
                <a:cubicBezTo>
                  <a:pt x="264204" y="1645215"/>
                  <a:pt x="253436" y="1643159"/>
                  <a:pt x="254769" y="1641013"/>
                </a:cubicBezTo>
                <a:cubicBezTo>
                  <a:pt x="234996" y="1641090"/>
                  <a:pt x="179093" y="1626583"/>
                  <a:pt x="150763" y="1628143"/>
                </a:cubicBezTo>
                <a:cubicBezTo>
                  <a:pt x="96232" y="1619954"/>
                  <a:pt x="68845" y="1629422"/>
                  <a:pt x="29133" y="1626172"/>
                </a:cubicBezTo>
                <a:lnTo>
                  <a:pt x="0" y="1619589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 rot="21238989">
            <a:off x="4020457" y="494414"/>
            <a:ext cx="7228114" cy="817403"/>
          </a:xfrm>
          <a:prstGeom prst="rect">
            <a:avLst/>
          </a:prstGeom>
        </p:spPr>
        <p:txBody>
          <a:bodyPr spcFirstLastPara="1" numCol="1" rtlCol="1" anchor="b">
            <a:prstTxWarp prst="textArchDown">
              <a:avLst/>
            </a:prstTxWarp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800">
                <a:ln w="12700">
                  <a:solidFill>
                    <a:srgbClr val="444346"/>
                  </a:solidFill>
                </a:ln>
                <a:solidFill>
                  <a:srgbClr val="745A74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dirty="0">
                <a:solidFill>
                  <a:srgbClr val="B88A26"/>
                </a:solidFill>
              </a:rPr>
              <a:t>דרישות לביצוע הבדיקות</a:t>
            </a:r>
          </a:p>
        </p:txBody>
      </p:sp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E4B00D87-5A81-C5E2-8E57-774CC80731B0}"/>
              </a:ext>
            </a:extLst>
          </p:cNvPr>
          <p:cNvGraphicFramePr>
            <a:graphicFrameLocks noGrp="1" noDrilldown="1" noChangeAspect="1" noMove="1" noResize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2102850"/>
              </p:ext>
            </p:extLst>
          </p:nvPr>
        </p:nvGraphicFramePr>
        <p:xfrm>
          <a:off x="2638561" y="2083507"/>
          <a:ext cx="7824788" cy="44866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r:id="rId5" imgW="6107604" imgH="4074156" progId="Word.Document.12">
                  <p:link updateAutomatic="1"/>
                </p:oleObj>
              </mc:Choice>
              <mc:Fallback>
                <p:oleObj name="Document" r:id="rId5" imgW="6107604" imgH="4074156" progId="Word.Documen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38561" y="2083507"/>
                        <a:ext cx="7824788" cy="44866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 descr="15,666 Warehouse Background Man Stock Photos - Free &amp; Royalty-Free Stock  Photos from Dreamstime">
            <a:extLst>
              <a:ext uri="{FF2B5EF4-FFF2-40B4-BE49-F238E27FC236}">
                <a16:creationId xmlns:a16="http://schemas.microsoft.com/office/drawing/2014/main" id="{F65B4D7E-0B52-3D9A-847B-AC164A97B81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3464292" cy="2290763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Recording">
            <a:hlinkClick r:id="" action="ppaction://media"/>
            <a:extLst>
              <a:ext uri="{FF2B5EF4-FFF2-40B4-BE49-F238E27FC236}">
                <a16:creationId xmlns:a16="http://schemas.microsoft.com/office/drawing/2014/main" id="{D7C96CB1-A5ED-1CC8-1F08-0EC3E299ECA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3">
                  <p14:trim st="2443" end="872.9791"/>
                </p14:media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341312" y="7157432"/>
            <a:ext cx="531813" cy="531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6511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1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37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animMotion origin="layout" path="M 0.24115 -0.1169 C 0.20873 -0.09097 0.19987 0.01621 0.14479 0.0044 C 0.05391 0.0419 0.02956 -0.00926 -0.00013 -0.00162 " pathEditMode="relative" rAng="9900000" ptsTypes="AAA">
                                      <p:cBhvr>
                                        <p:cTn id="8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471" y="9653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1" presetClass="mediacall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1996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400"/>
                            </p:stCondLst>
                            <p:childTnLst>
                              <p:par>
                                <p:cTn id="1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400"/>
                            </p:stCondLst>
                            <p:childTnLst>
                              <p:par>
                                <p:cTn id="15" presetID="38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2448 0.44444 L 0.08021 0.41597 L 0.02448 0.38935 L 0.08021 0.36088 L 0.02448 0.3324 L 0.08021 0.30578 L 0.02448 0.27731 L 0.08021 0.25069 L 0.02448 0.22222 L 0.08021 0.19375 L 0.02448 0.16713 L 0.08021 0.13865 L 0.02448 0.11203 L 0.08021 0.08356 L 0.02448 0.05509 L 0.08021 0.02847 L 0.02448 2.96296E-6 " pathEditMode="relative" rAng="16200000" ptsTypes="AAAAAAAAAAAAAAAAA">
                                      <p:cBhvr>
                                        <p:cTn id="16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786" y="-22222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19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  <p:bldLst>
      <p:bldP spid="12" grpId="0"/>
      <p:bldP spid="12" grpId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94000">
              <a:srgbClr val="AFDCB1"/>
            </a:gs>
            <a:gs pos="20000">
              <a:schemeClr val="bg1"/>
            </a:gs>
          </a:gsLst>
          <a:lin ang="135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754984" y="307472"/>
            <a:ext cx="8682032" cy="892552"/>
          </a:xfrm>
          <a:prstGeom prst="rect">
            <a:avLst/>
          </a:prstGeom>
        </p:spPr>
        <p:txBody>
          <a:bodyPr spcFirstLastPara="1" numCol="1" rtlCol="1" anchor="b">
            <a:prstTxWarp prst="textArchDown">
              <a:avLst>
                <a:gd name="adj" fmla="val 21571971"/>
              </a:avLst>
            </a:prstTxWarp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800">
                <a:ln w="12700">
                  <a:solidFill>
                    <a:srgbClr val="444346"/>
                  </a:solidFill>
                </a:ln>
                <a:solidFill>
                  <a:srgbClr val="745A74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dirty="0">
                <a:solidFill>
                  <a:srgbClr val="EC6132"/>
                </a:solidFill>
              </a:rPr>
              <a:t>תנאי סף לתחילת וסיום בדיקות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086254A-4236-9AAE-43E3-7A478DC9AF74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4065423" y="331664"/>
            <a:ext cx="9601723" cy="6079294"/>
            <a:chOff x="4065423" y="331664"/>
            <a:chExt cx="9601723" cy="6079294"/>
          </a:xfrm>
        </p:grpSpPr>
        <p:graphicFrame>
          <p:nvGraphicFramePr>
            <p:cNvPr id="4" name="Object 3">
              <a:extLst>
                <a:ext uri="{FF2B5EF4-FFF2-40B4-BE49-F238E27FC236}">
                  <a16:creationId xmlns:a16="http://schemas.microsoft.com/office/drawing/2014/main" id="{7968DB7F-9988-D4E6-4FC4-021505004265}"/>
                </a:ext>
              </a:extLst>
            </p:cNvPr>
            <p:cNvGraphicFramePr>
              <a:graphicFrameLocks noGrp="1" noDrilldown="1" noChangeAspect="1" noMove="1" noResize="1"/>
            </p:cNvGraphicFramePr>
            <p:nvPr>
              <p:custDataLst>
                <p:tags r:id="rId3"/>
              </p:custDataLst>
              <p:extLst>
                <p:ext uri="{D42A27DB-BD31-4B8C-83A1-F6EECF244321}">
                  <p14:modId xmlns:p14="http://schemas.microsoft.com/office/powerpoint/2010/main" val="3337616097"/>
                </p:ext>
              </p:extLst>
            </p:nvPr>
          </p:nvGraphicFramePr>
          <p:xfrm>
            <a:off x="5054649" y="1215044"/>
            <a:ext cx="7432048" cy="1871543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Document" r:id="rId7" imgW="6107604" imgH="1508159" progId="Word.Document.12">
                    <p:link updateAutomatic="1"/>
                  </p:oleObj>
                </mc:Choice>
                <mc:Fallback>
                  <p:oleObj name="Document" r:id="rId7" imgW="6107604" imgH="1508159" progId="Word.Document.12">
                    <p:link updateAutomatic="1"/>
                    <p:pic>
                      <p:nvPicPr>
                        <p:cNvPr id="0" name=""/>
                        <p:cNvPicPr/>
                        <p:nvPr/>
                      </p:nvPicPr>
                      <p:blipFill>
                        <a:blip r:embed="rId8"/>
                        <a:stretch>
                          <a:fillRect/>
                        </a:stretch>
                      </p:blipFill>
                      <p:spPr>
                        <a:xfrm>
                          <a:off x="5054649" y="1215044"/>
                          <a:ext cx="7432048" cy="1871543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6" name="Object 5">
              <a:extLst>
                <a:ext uri="{FF2B5EF4-FFF2-40B4-BE49-F238E27FC236}">
                  <a16:creationId xmlns:a16="http://schemas.microsoft.com/office/drawing/2014/main" id="{D427C99D-AB41-9CA4-3EA5-306FCD076FCD}"/>
                </a:ext>
              </a:extLst>
            </p:cNvPr>
            <p:cNvGraphicFramePr>
              <a:graphicFrameLocks noGrp="1" noDrilldown="1" noChangeAspect="1" noMove="1" noResize="1"/>
            </p:cNvGraphicFramePr>
            <p:nvPr>
              <p:custDataLst>
                <p:tags r:id="rId4"/>
              </p:custDataLst>
              <p:extLst>
                <p:ext uri="{D42A27DB-BD31-4B8C-83A1-F6EECF244321}">
                  <p14:modId xmlns:p14="http://schemas.microsoft.com/office/powerpoint/2010/main" val="1981000570"/>
                </p:ext>
              </p:extLst>
            </p:nvPr>
          </p:nvGraphicFramePr>
          <p:xfrm>
            <a:off x="6096000" y="331664"/>
            <a:ext cx="7571146" cy="4393201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Document" r:id="rId9" imgW="6221839" imgH="3540189" progId="Word.Document.12">
                    <p:link updateAutomatic="1"/>
                  </p:oleObj>
                </mc:Choice>
                <mc:Fallback>
                  <p:oleObj name="Document" r:id="rId9" imgW="6221839" imgH="3540189" progId="Word.Document.12">
                    <p:link updateAutomatic="1"/>
                    <p:pic>
                      <p:nvPicPr>
                        <p:cNvPr id="0" name=""/>
                        <p:cNvPicPr/>
                        <p:nvPr/>
                      </p:nvPicPr>
                      <p:blipFill>
                        <a:blip r:embed="rId10"/>
                        <a:stretch>
                          <a:fillRect/>
                        </a:stretch>
                      </p:blipFill>
                      <p:spPr>
                        <a:xfrm>
                          <a:off x="6096000" y="331664"/>
                          <a:ext cx="7571146" cy="4393201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7" name="Object 6">
              <a:extLst>
                <a:ext uri="{FF2B5EF4-FFF2-40B4-BE49-F238E27FC236}">
                  <a16:creationId xmlns:a16="http://schemas.microsoft.com/office/drawing/2014/main" id="{C03BA18C-67C3-B974-576E-BDB21FDBBFFE}"/>
                </a:ext>
              </a:extLst>
            </p:cNvPr>
            <p:cNvGraphicFramePr>
              <a:graphicFrameLocks noGrp="1" noDrilldown="1" noChangeAspect="1" noMove="1" noResize="1"/>
            </p:cNvGraphicFramePr>
            <p:nvPr>
              <p:custDataLst>
                <p:tags r:id="rId5"/>
              </p:custDataLst>
              <p:extLst>
                <p:ext uri="{D42A27DB-BD31-4B8C-83A1-F6EECF244321}">
                  <p14:modId xmlns:p14="http://schemas.microsoft.com/office/powerpoint/2010/main" val="3539928061"/>
                </p:ext>
              </p:extLst>
            </p:nvPr>
          </p:nvGraphicFramePr>
          <p:xfrm>
            <a:off x="4065423" y="5026016"/>
            <a:ext cx="7640694" cy="1384942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Document" r:id="rId11" imgW="6279315" imgH="1115526" progId="Word.Document.12">
                    <p:link updateAutomatic="1"/>
                  </p:oleObj>
                </mc:Choice>
                <mc:Fallback>
                  <p:oleObj name="Document" r:id="rId11" imgW="6279315" imgH="1115526" progId="Word.Document.12">
                    <p:link updateAutomatic="1"/>
                    <p:pic>
                      <p:nvPicPr>
                        <p:cNvPr id="0" name=""/>
                        <p:cNvPicPr/>
                        <p:nvPr/>
                      </p:nvPicPr>
                      <p:blipFill>
                        <a:blip r:embed="rId12"/>
                        <a:stretch>
                          <a:fillRect/>
                        </a:stretch>
                      </p:blipFill>
                      <p:spPr>
                        <a:xfrm>
                          <a:off x="4065423" y="5026016"/>
                          <a:ext cx="7640694" cy="1384942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</p:grpSp>
      <p:pic>
        <p:nvPicPr>
          <p:cNvPr id="7170" name="Picture 2" descr="EditableTemplates - Premium Powerpoint Templates and Business Design  Templates">
            <a:extLst>
              <a:ext uri="{FF2B5EF4-FFF2-40B4-BE49-F238E27FC236}">
                <a16:creationId xmlns:a16="http://schemas.microsoft.com/office/drawing/2014/main" id="{771FCCDC-C0FA-48E7-1BF5-2839CB3FEE4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880"/>
          <a:stretch/>
        </p:blipFill>
        <p:spPr bwMode="auto">
          <a:xfrm>
            <a:off x="377690" y="1356050"/>
            <a:ext cx="5373425" cy="3067664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Recording">
            <a:hlinkClick r:id="" action="ppaction://media"/>
            <a:extLst>
              <a:ext uri="{FF2B5EF4-FFF2-40B4-BE49-F238E27FC236}">
                <a16:creationId xmlns:a16="http://schemas.microsoft.com/office/drawing/2014/main" id="{16AA5699-EEDE-D42E-97A5-58399DD1DE95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2">
                  <p14:trim st="2493" end="951.6458"/>
                </p14:media>
              </p:ext>
            </p:extLst>
          </p:nvPr>
        </p:nvPicPr>
        <p:blipFill>
          <a:blip r:embed="rId14"/>
          <a:stretch>
            <a:fillRect/>
          </a:stretch>
        </p:blipFill>
        <p:spPr>
          <a:xfrm>
            <a:off x="111783" y="7027862"/>
            <a:ext cx="531813" cy="531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2661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169 0.42152 L -2.08333E-6 0.04051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71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8" y="-19051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1" dur="19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" presetClass="mediacall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cmd type="call" cmd="playFrom(0.0)">
                                      <p:cBhvr>
                                        <p:cTn id="13" dur="2614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914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4985B7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18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  <p:bldLst>
      <p:bldP spid="12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90000">
              <a:srgbClr val="A9B0DD"/>
            </a:gs>
            <a:gs pos="56000">
              <a:schemeClr val="bg1"/>
            </a:gs>
          </a:gsLst>
          <a:lin ang="135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133322" y="238790"/>
            <a:ext cx="5613302" cy="1317031"/>
          </a:xfrm>
          <a:prstGeom prst="rect">
            <a:avLst/>
          </a:prstGeom>
        </p:spPr>
        <p:txBody>
          <a:bodyPr spcFirstLastPara="1" numCol="1" rtlCol="1" anchor="b">
            <a:prstTxWarp prst="textSlantUp">
              <a:avLst/>
            </a:prstTxWarp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800">
                <a:ln w="12700">
                  <a:solidFill>
                    <a:srgbClr val="444346"/>
                  </a:solidFill>
                </a:ln>
                <a:solidFill>
                  <a:srgbClr val="EC6132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sz="5400" dirty="0">
                <a:solidFill>
                  <a:srgbClr val="FEAC22"/>
                </a:solidFill>
              </a:rPr>
              <a:t>בדיקות שנבצע </a:t>
            </a:r>
          </a:p>
        </p:txBody>
      </p:sp>
      <p:sp>
        <p:nvSpPr>
          <p:cNvPr id="26" name="תיבת טקסט 25">
            <a:extLst>
              <a:ext uri="{FF2B5EF4-FFF2-40B4-BE49-F238E27FC236}">
                <a16:creationId xmlns:a16="http://schemas.microsoft.com/office/drawing/2014/main" id="{2F739128-3972-1749-B61D-3E98679D358C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7680719" y="1821526"/>
            <a:ext cx="3187006" cy="1323439"/>
          </a:xfrm>
          <a:prstGeom prst="rect">
            <a:avLst/>
          </a:prstGeom>
        </p:spPr>
        <p:txBody>
          <a:bodyPr rtlCol="1" anchor="ctr">
            <a:normAutofit/>
          </a:bodyPr>
          <a:lstStyle>
            <a:defPPr>
              <a:defRPr lang="he-IL"/>
            </a:defPPr>
            <a:lvl1pPr>
              <a:spcAft>
                <a:spcPts val="600"/>
              </a:spcAft>
              <a:defRPr sz="4000" b="1" spc="600">
                <a:ln w="12700">
                  <a:solidFill>
                    <a:srgbClr val="002060"/>
                  </a:solidFill>
                </a:ln>
                <a:solidFill>
                  <a:srgbClr val="354165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pPr algn="ctr"/>
            <a:r>
              <a:rPr lang="en-US" sz="2800" dirty="0">
                <a:solidFill>
                  <a:srgbClr val="8E5707"/>
                </a:solidFill>
                <a:latin typeface="Book Antiqua" panose="02040602050305030304" pitchFamily="18" charset="0"/>
              </a:rPr>
              <a:t>Security Tests</a:t>
            </a:r>
            <a:r>
              <a:rPr lang="he-IL" sz="2800" dirty="0">
                <a:solidFill>
                  <a:srgbClr val="8E5707"/>
                </a:solidFill>
                <a:latin typeface="Book Antiqua" panose="02040602050305030304" pitchFamily="18" charset="0"/>
              </a:rPr>
              <a:t> </a:t>
            </a:r>
            <a:endParaRPr lang="en-US" sz="2800" dirty="0">
              <a:solidFill>
                <a:srgbClr val="8E5707"/>
              </a:solidFill>
              <a:latin typeface="Book Antiqua" panose="02040602050305030304" pitchFamily="18" charset="0"/>
            </a:endParaRPr>
          </a:p>
        </p:txBody>
      </p:sp>
      <p:sp>
        <p:nvSpPr>
          <p:cNvPr id="28" name="תיבת טקסט 27">
            <a:extLst>
              <a:ext uri="{FF2B5EF4-FFF2-40B4-BE49-F238E27FC236}">
                <a16:creationId xmlns:a16="http://schemas.microsoft.com/office/drawing/2014/main" id="{7E8A9891-C90F-1A44-BCCD-FBF9D5B431B9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09786" y="3467100"/>
            <a:ext cx="4717325" cy="954107"/>
          </a:xfrm>
          <a:prstGeom prst="rect">
            <a:avLst/>
          </a:prstGeom>
        </p:spPr>
        <p:txBody>
          <a:bodyPr rtlCol="1" anchor="ctr"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2800" b="1" spc="600">
                <a:ln w="12700">
                  <a:solidFill>
                    <a:srgbClr val="002060"/>
                  </a:solidFill>
                </a:ln>
                <a:solidFill>
                  <a:srgbClr val="8E5707"/>
                </a:solidFill>
                <a:latin typeface="Book Antiqua" panose="02040602050305030304" pitchFamily="18" charset="0"/>
                <a:cs typeface="David" panose="020E0502060401010101" pitchFamily="34" charset="-79"/>
              </a:defRPr>
            </a:lvl1pPr>
          </a:lstStyle>
          <a:p>
            <a:r>
              <a:rPr lang="en-US" dirty="0"/>
              <a:t>Survival &amp; Recovery </a:t>
            </a:r>
          </a:p>
        </p:txBody>
      </p:sp>
      <p:sp>
        <p:nvSpPr>
          <p:cNvPr id="29" name="תיבת טקסט 28">
            <a:extLst>
              <a:ext uri="{FF2B5EF4-FFF2-40B4-BE49-F238E27FC236}">
                <a16:creationId xmlns:a16="http://schemas.microsoft.com/office/drawing/2014/main" id="{FAFD78FA-6465-0C43-8B01-016E3D123F60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480458" y="2151292"/>
            <a:ext cx="2975982" cy="954107"/>
          </a:xfrm>
          <a:prstGeom prst="rect">
            <a:avLst/>
          </a:prstGeom>
        </p:spPr>
        <p:txBody>
          <a:bodyPr rtlCol="1" anchor="ctr"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2800" b="1" spc="600">
                <a:ln w="12700">
                  <a:solidFill>
                    <a:srgbClr val="002060"/>
                  </a:solidFill>
                </a:ln>
                <a:solidFill>
                  <a:srgbClr val="8E5707"/>
                </a:solidFill>
                <a:latin typeface="Book Antiqua" panose="02040602050305030304" pitchFamily="18" charset="0"/>
                <a:cs typeface="David" panose="020E0502060401010101" pitchFamily="34" charset="-79"/>
              </a:defRPr>
            </a:lvl1pPr>
          </a:lstStyle>
          <a:p>
            <a:r>
              <a:rPr lang="en-US" dirty="0"/>
              <a:t>Integration </a:t>
            </a:r>
          </a:p>
        </p:txBody>
      </p:sp>
      <p:sp>
        <p:nvSpPr>
          <p:cNvPr id="7" name="מלבן 6">
            <a:extLst>
              <a:ext uri="{FF2B5EF4-FFF2-40B4-BE49-F238E27FC236}">
                <a16:creationId xmlns:a16="http://schemas.microsoft.com/office/drawing/2014/main" id="{07EF5C45-29C3-D74D-B494-D656978042E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7864099" y="3658419"/>
            <a:ext cx="2499402" cy="523220"/>
          </a:xfrm>
          <a:prstGeom prst="rect">
            <a:avLst/>
          </a:prstGeom>
        </p:spPr>
        <p:txBody>
          <a:bodyPr rtlCol="1" anchor="ctr">
            <a:normAutofit/>
          </a:bodyPr>
          <a:lstStyle/>
          <a:p>
            <a:pPr algn="ctr">
              <a:spcAft>
                <a:spcPts val="600"/>
              </a:spcAft>
            </a:pPr>
            <a:r>
              <a:rPr lang="en-US" sz="2800" b="1" spc="600" dirty="0">
                <a:ln w="12700">
                  <a:solidFill>
                    <a:srgbClr val="002060"/>
                  </a:solidFill>
                </a:ln>
                <a:solidFill>
                  <a:srgbClr val="8E5707"/>
                </a:solidFill>
                <a:latin typeface="Book Antiqua" panose="02040602050305030304" pitchFamily="18" charset="0"/>
                <a:cs typeface="David" panose="020E0502060401010101" pitchFamily="34" charset="-79"/>
              </a:rPr>
              <a:t>Interface </a:t>
            </a:r>
            <a:endParaRPr lang="he-IL" sz="2800" b="1" spc="600" dirty="0">
              <a:ln w="12700">
                <a:solidFill>
                  <a:srgbClr val="002060"/>
                </a:solidFill>
              </a:ln>
              <a:solidFill>
                <a:srgbClr val="8E5707"/>
              </a:solidFill>
              <a:latin typeface="Book Antiqua" panose="02040602050305030304" pitchFamily="18" charset="0"/>
              <a:cs typeface="David" panose="020E0502060401010101" pitchFamily="34" charset="-79"/>
            </a:endParaRPr>
          </a:p>
        </p:txBody>
      </p:sp>
      <p:sp>
        <p:nvSpPr>
          <p:cNvPr id="30" name="מלבן 29">
            <a:extLst>
              <a:ext uri="{FF2B5EF4-FFF2-40B4-BE49-F238E27FC236}">
                <a16:creationId xmlns:a16="http://schemas.microsoft.com/office/drawing/2014/main" id="{F749E524-5E63-2641-877F-62E24812EC4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953560" y="5138539"/>
            <a:ext cx="3671198" cy="523220"/>
          </a:xfrm>
          <a:prstGeom prst="rect">
            <a:avLst/>
          </a:prstGeom>
        </p:spPr>
        <p:txBody>
          <a:bodyPr rtlCol="1" anchor="ctr">
            <a:normAutofit/>
          </a:bodyPr>
          <a:lstStyle/>
          <a:p>
            <a:pPr algn="ctr">
              <a:spcAft>
                <a:spcPts val="600"/>
              </a:spcAft>
            </a:pPr>
            <a:r>
              <a:rPr lang="en-US" sz="2800" b="1" spc="600" dirty="0">
                <a:ln w="12700">
                  <a:solidFill>
                    <a:srgbClr val="002060"/>
                  </a:solidFill>
                </a:ln>
                <a:solidFill>
                  <a:srgbClr val="8E5707"/>
                </a:solidFill>
                <a:latin typeface="Book Antiqua" panose="02040602050305030304" pitchFamily="18" charset="0"/>
                <a:cs typeface="David" panose="020E0502060401010101" pitchFamily="34" charset="-79"/>
              </a:rPr>
              <a:t>Compatibility </a:t>
            </a:r>
            <a:endParaRPr lang="he-IL" sz="2800" b="1" spc="600" dirty="0">
              <a:ln w="12700">
                <a:solidFill>
                  <a:srgbClr val="002060"/>
                </a:solidFill>
              </a:ln>
              <a:solidFill>
                <a:srgbClr val="8E5707"/>
              </a:solidFill>
              <a:latin typeface="Book Antiqua" panose="02040602050305030304" pitchFamily="18" charset="0"/>
              <a:cs typeface="David" panose="020E0502060401010101" pitchFamily="34" charset="-79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B4BB271-CAA4-F7F8-8F00-25A51BD64423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385070" y="2006010"/>
            <a:ext cx="11096311" cy="4128783"/>
            <a:chOff x="385070" y="2006010"/>
            <a:chExt cx="11096311" cy="4128783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8ED126E-F1BA-28E2-F6F0-9D50DFF1D5F2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10479955" y="2006011"/>
              <a:ext cx="1001426" cy="4128782"/>
              <a:chOff x="10077071" y="1759334"/>
              <a:chExt cx="1133421" cy="4236342"/>
            </a:xfrm>
          </p:grpSpPr>
          <p:pic>
            <p:nvPicPr>
              <p:cNvPr id="3" name="תמונה 2">
                <a:extLst>
                  <a:ext uri="{FF2B5EF4-FFF2-40B4-BE49-F238E27FC236}">
                    <a16:creationId xmlns:a16="http://schemas.microsoft.com/office/drawing/2014/main" id="{043C22A2-0C6B-9D4C-AB4B-97AAE4D515BA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0077073" y="1759334"/>
                <a:ext cx="1133419" cy="1133419"/>
              </a:xfrm>
              <a:prstGeom prst="rect">
                <a:avLst/>
              </a:prstGeom>
            </p:spPr>
          </p:pic>
          <p:pic>
            <p:nvPicPr>
              <p:cNvPr id="6" name="תמונה 5">
                <a:extLst>
                  <a:ext uri="{FF2B5EF4-FFF2-40B4-BE49-F238E27FC236}">
                    <a16:creationId xmlns:a16="http://schemas.microsoft.com/office/drawing/2014/main" id="{E430554F-A124-D14E-9DA4-83B34DC3B9C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0077072" y="3354670"/>
                <a:ext cx="1133419" cy="1133419"/>
              </a:xfrm>
              <a:prstGeom prst="rect">
                <a:avLst/>
              </a:prstGeom>
            </p:spPr>
          </p:pic>
          <p:pic>
            <p:nvPicPr>
              <p:cNvPr id="18" name="תמונה 17">
                <a:extLst>
                  <a:ext uri="{FF2B5EF4-FFF2-40B4-BE49-F238E27FC236}">
                    <a16:creationId xmlns:a16="http://schemas.microsoft.com/office/drawing/2014/main" id="{3FC57B1A-E0C7-9C40-A929-5FE89DBB233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 flipH="1">
                <a:off x="10077071" y="4730540"/>
                <a:ext cx="1133420" cy="1265136"/>
              </a:xfrm>
              <a:prstGeom prst="rect">
                <a:avLst/>
              </a:prstGeom>
            </p:spPr>
          </p:pic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A8E4D694-FD49-0C39-58D8-E36D80BC3EF2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385070" y="2006010"/>
              <a:ext cx="1075824" cy="3799345"/>
              <a:chOff x="-109040" y="1842688"/>
              <a:chExt cx="1176355" cy="3822222"/>
            </a:xfrm>
          </p:grpSpPr>
          <p:pic>
            <p:nvPicPr>
              <p:cNvPr id="32" name="תמונה 31">
                <a:extLst>
                  <a:ext uri="{FF2B5EF4-FFF2-40B4-BE49-F238E27FC236}">
                    <a16:creationId xmlns:a16="http://schemas.microsoft.com/office/drawing/2014/main" id="{8F36344A-7476-7340-AFE8-8E42791531F1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-24488" y="1842688"/>
                <a:ext cx="1091803" cy="1091803"/>
              </a:xfrm>
              <a:prstGeom prst="rect">
                <a:avLst/>
              </a:prstGeom>
            </p:spPr>
          </p:pic>
          <p:pic>
            <p:nvPicPr>
              <p:cNvPr id="34" name="תמונה 33">
                <a:extLst>
                  <a:ext uri="{FF2B5EF4-FFF2-40B4-BE49-F238E27FC236}">
                    <a16:creationId xmlns:a16="http://schemas.microsoft.com/office/drawing/2014/main" id="{B3A33431-125E-F54F-8807-413DA9657E6C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-109040" y="3269494"/>
                <a:ext cx="1091803" cy="1091803"/>
              </a:xfrm>
              <a:prstGeom prst="rect">
                <a:avLst/>
              </a:prstGeom>
            </p:spPr>
          </p:pic>
          <p:pic>
            <p:nvPicPr>
              <p:cNvPr id="4" name="תמונה 3">
                <a:extLst>
                  <a:ext uri="{FF2B5EF4-FFF2-40B4-BE49-F238E27FC236}">
                    <a16:creationId xmlns:a16="http://schemas.microsoft.com/office/drawing/2014/main" id="{67139B03-670B-F646-B2D3-909FDBD7A44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12">
                <a:extLst>
                  <a:ext uri="{BEBA8EAE-BF5A-486C-A8C5-ECC9F3942E4B}">
                    <a14:imgProps xmlns:a14="http://schemas.microsoft.com/office/drawing/2010/main">
                      <a14:imgLayer r:embed="rId13">
                        <a14:imgEffect>
                          <a14:saturation sat="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29215" y="4849618"/>
                <a:ext cx="815292" cy="81529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</p:pic>
        </p:grpSp>
      </p:grpSp>
      <p:sp>
        <p:nvSpPr>
          <p:cNvPr id="20" name="תיבת טקסט 19">
            <a:extLst>
              <a:ext uri="{FF2B5EF4-FFF2-40B4-BE49-F238E27FC236}">
                <a16:creationId xmlns:a16="http://schemas.microsoft.com/office/drawing/2014/main" id="{BBFC0FE6-C712-4D43-983B-33BC9BC999F0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712687" y="4979324"/>
            <a:ext cx="2206976" cy="954107"/>
          </a:xfrm>
          <a:prstGeom prst="rect">
            <a:avLst/>
          </a:prstGeom>
        </p:spPr>
        <p:txBody>
          <a:bodyPr rtlCol="1" anchor="ctr"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2800" b="1" spc="600">
                <a:ln w="12700">
                  <a:solidFill>
                    <a:srgbClr val="002060"/>
                  </a:solidFill>
                </a:ln>
                <a:solidFill>
                  <a:srgbClr val="8E5707"/>
                </a:solidFill>
                <a:latin typeface="Book Antiqua" panose="02040602050305030304" pitchFamily="18" charset="0"/>
                <a:cs typeface="David" panose="020E0502060401010101" pitchFamily="34" charset="-79"/>
              </a:defRPr>
            </a:lvl1pPr>
          </a:lstStyle>
          <a:p>
            <a:r>
              <a:rPr lang="en-US" dirty="0"/>
              <a:t>C.R.U.D</a:t>
            </a:r>
          </a:p>
        </p:txBody>
      </p:sp>
      <p:pic>
        <p:nvPicPr>
          <p:cNvPr id="9218" name="Picture 2" descr="Top 10 Warehouse PowerPoint Presentation Templates in 2025">
            <a:extLst>
              <a:ext uri="{FF2B5EF4-FFF2-40B4-BE49-F238E27FC236}">
                <a16:creationId xmlns:a16="http://schemas.microsoft.com/office/drawing/2014/main" id="{DE1407D3-956E-CD98-7691-D92A3272D1F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172" b="12768"/>
          <a:stretch/>
        </p:blipFill>
        <p:spPr bwMode="auto">
          <a:xfrm>
            <a:off x="81456" y="148070"/>
            <a:ext cx="4957465" cy="1730606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Recording">
            <a:hlinkClick r:id="" action="ppaction://media"/>
            <a:extLst>
              <a:ext uri="{FF2B5EF4-FFF2-40B4-BE49-F238E27FC236}">
                <a16:creationId xmlns:a16="http://schemas.microsoft.com/office/drawing/2014/main" id="{F94F56F8-134D-6FDF-BD5B-3F1D7BC2B2B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2">
                  <p14:trim st="3370" end="677.9791"/>
                </p14:media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134637" y="6858000"/>
            <a:ext cx="531813" cy="531813"/>
          </a:xfrm>
          <a:prstGeom prst="rect">
            <a:avLst/>
          </a:prstGeom>
        </p:spPr>
      </p:pic>
      <p:pic>
        <p:nvPicPr>
          <p:cNvPr id="9" name="Recording (2)">
            <a:hlinkClick r:id="" action="ppaction://media"/>
            <a:extLst>
              <a:ext uri="{FF2B5EF4-FFF2-40B4-BE49-F238E27FC236}">
                <a16:creationId xmlns:a16="http://schemas.microsoft.com/office/drawing/2014/main" id="{B0E774C5-E1B1-99EE-3772-7CC306D722B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3">
                  <p14:trim st="2626"/>
                </p14:media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1076148" y="6915694"/>
            <a:ext cx="531813" cy="531813"/>
          </a:xfrm>
          <a:prstGeom prst="rect">
            <a:avLst/>
          </a:prstGeom>
        </p:spPr>
      </p:pic>
      <p:pic>
        <p:nvPicPr>
          <p:cNvPr id="14" name="Luna">
            <a:hlinkClick r:id="" action="ppaction://media"/>
            <a:extLst>
              <a:ext uri="{FF2B5EF4-FFF2-40B4-BE49-F238E27FC236}">
                <a16:creationId xmlns:a16="http://schemas.microsoft.com/office/drawing/2014/main" id="{E41DA985-AE55-18ED-7C8B-5AE67BEC4F0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videoFile r:link="rId5"/>
            <p:extLst>
              <p:ext uri="{DAA4B4D4-6D71-4841-9C94-3DE7FCFB9230}">
                <p14:media xmlns:p14="http://schemas.microsoft.com/office/powerpoint/2010/main" r:embed="rId4"/>
              </p:ext>
            </p:extLst>
          </p:nvPr>
        </p:nvPicPr>
        <p:blipFill>
          <a:blip r:embed="rId16"/>
          <a:srcRect t="25972" b="17546"/>
          <a:stretch/>
        </p:blipFill>
        <p:spPr>
          <a:xfrm>
            <a:off x="4620484" y="2235089"/>
            <a:ext cx="2943780" cy="2955894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167845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45833E-6 1.48148E-6 L 1.45833E-6 0.7206 " pathEditMode="relative" rAng="0" ptsTypes="AA">
                                      <p:cBhvr>
                                        <p:cTn id="8" dur="20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019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1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4" dur="500"/>
                                        <p:tgtEl>
                                          <p:spTgt spid="9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6" dur="1520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200"/>
                            </p:stCondLst>
                            <p:childTnLst>
                              <p:par>
                                <p:cTn id="18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9" dur="9853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2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grpId="0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grpId="0" nodeType="withEffect">
                                  <p:stCondLst>
                                    <p:cond delay="34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grpId="0" nodeType="with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" presetClass="entr" presetSubtype="0" fill="hold" grpId="0" nodeType="withEffect">
                                  <p:stCondLst>
                                    <p:cond delay="63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ntr" presetSubtype="0" fill="hold" grpId="0" nodeType="withEffect">
                                  <p:stCondLst>
                                    <p:cond delay="78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2053"/>
                            </p:stCondLst>
                            <p:childTnLst>
                              <p:par>
                                <p:cTn id="3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12053"/>
                            </p:stCondLst>
                            <p:childTnLst>
                              <p:par>
                                <p:cTn id="36" presetID="2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37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38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39" dur="70336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40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8"/>
                </p:tgtEl>
              </p:cMediaNode>
            </p:audio>
            <p:audio>
              <p:cMediaNode vol="80000">
                <p:cTn id="41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9"/>
                </p:tgtEl>
              </p:cMediaNode>
            </p:audio>
            <p:video>
              <p:cMediaNode vol="80000">
                <p:cTn id="42" fill="hold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</p:childTnLst>
        </p:cTn>
      </p:par>
    </p:tnLst>
    <p:bldLst>
      <p:bldP spid="12" grpId="0"/>
      <p:bldP spid="26" grpId="0"/>
      <p:bldP spid="28" grpId="0"/>
      <p:bldP spid="29" grpId="0"/>
      <p:bldP spid="7" grpId="0"/>
      <p:bldP spid="30" grpId="0"/>
      <p:bldP spid="20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35000">
              <a:srgbClr val="EDECE6"/>
            </a:gs>
            <a:gs pos="0">
              <a:srgbClr val="D1D5DF"/>
            </a:gs>
          </a:gsLst>
          <a:path path="shap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235199" y="879010"/>
            <a:ext cx="7721602" cy="1631892"/>
          </a:xfrm>
          <a:prstGeom prst="rect">
            <a:avLst/>
          </a:prstGeom>
        </p:spPr>
        <p:txBody>
          <a:bodyPr spcFirstLastPara="1" numCol="1" rtlCol="1" anchor="b">
            <a:prstTxWarp prst="textArchUp">
              <a:avLst/>
            </a:prstTxWarp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800">
                <a:ln w="12700">
                  <a:solidFill>
                    <a:srgbClr val="444346"/>
                  </a:solidFill>
                </a:ln>
                <a:solidFill>
                  <a:srgbClr val="EC6132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sz="5400" dirty="0">
                <a:solidFill>
                  <a:srgbClr val="017D76"/>
                </a:solidFill>
              </a:rPr>
              <a:t>בדיקות שלא נבצע </a:t>
            </a:r>
          </a:p>
        </p:txBody>
      </p:sp>
      <p:sp>
        <p:nvSpPr>
          <p:cNvPr id="26" name="תיבת טקסט 25">
            <a:extLst>
              <a:ext uri="{FF2B5EF4-FFF2-40B4-BE49-F238E27FC236}">
                <a16:creationId xmlns:a16="http://schemas.microsoft.com/office/drawing/2014/main" id="{2F739128-3972-1749-B61D-3E98679D358C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8184714" y="2065760"/>
            <a:ext cx="1465002" cy="523220"/>
          </a:xfrm>
          <a:prstGeom prst="rect">
            <a:avLst/>
          </a:prstGeom>
        </p:spPr>
        <p:txBody>
          <a:bodyPr rtlCol="1" anchor="ctr">
            <a:no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2800" b="1" spc="600">
                <a:ln w="12700">
                  <a:solidFill>
                    <a:srgbClr val="002060"/>
                  </a:solidFill>
                </a:ln>
                <a:solidFill>
                  <a:srgbClr val="8E5707"/>
                </a:solidFill>
                <a:latin typeface="Book Antiqua" panose="02040602050305030304" pitchFamily="18" charset="0"/>
                <a:cs typeface="David" panose="020E0502060401010101" pitchFamily="34" charset="-79"/>
              </a:defRPr>
            </a:lvl1pPr>
          </a:lstStyle>
          <a:p>
            <a:r>
              <a:rPr lang="he-IL" sz="3600" dirty="0">
                <a:solidFill>
                  <a:srgbClr val="F4B184"/>
                </a:solidFill>
              </a:rPr>
              <a:t>GUI</a:t>
            </a:r>
            <a:endParaRPr lang="en-US" sz="3600" dirty="0">
              <a:solidFill>
                <a:srgbClr val="F4B184"/>
              </a:solidFill>
            </a:endParaRPr>
          </a:p>
        </p:txBody>
      </p:sp>
      <p:sp>
        <p:nvSpPr>
          <p:cNvPr id="7" name="מלבן 6">
            <a:extLst>
              <a:ext uri="{FF2B5EF4-FFF2-40B4-BE49-F238E27FC236}">
                <a16:creationId xmlns:a16="http://schemas.microsoft.com/office/drawing/2014/main" id="{07EF5C45-29C3-D74D-B494-D656978042E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56231" y="2065760"/>
            <a:ext cx="1699792" cy="523220"/>
          </a:xfrm>
          <a:prstGeom prst="rect">
            <a:avLst/>
          </a:prstGeom>
        </p:spPr>
        <p:txBody>
          <a:bodyPr rtlCol="1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3600" b="1" spc="600" dirty="0">
                <a:ln w="12700">
                  <a:solidFill>
                    <a:srgbClr val="002060"/>
                  </a:solidFill>
                </a:ln>
                <a:solidFill>
                  <a:srgbClr val="F4B184"/>
                </a:solidFill>
                <a:latin typeface="Book Antiqua" panose="02040602050305030304" pitchFamily="18" charset="0"/>
                <a:cs typeface="David" panose="020E0502060401010101" pitchFamily="34" charset="-79"/>
              </a:rPr>
              <a:t>Load</a:t>
            </a:r>
            <a:endParaRPr lang="he-IL" sz="3600" b="1" spc="600" dirty="0">
              <a:ln w="12700">
                <a:solidFill>
                  <a:srgbClr val="002060"/>
                </a:solidFill>
              </a:ln>
              <a:solidFill>
                <a:srgbClr val="F4B184"/>
              </a:solidFill>
              <a:latin typeface="Book Antiqua" panose="02040602050305030304" pitchFamily="18" charset="0"/>
              <a:cs typeface="David" panose="020E0502060401010101" pitchFamily="34" charset="-79"/>
            </a:endParaRPr>
          </a:p>
        </p:txBody>
      </p:sp>
      <p:sp>
        <p:nvSpPr>
          <p:cNvPr id="30" name="מלבן 29">
            <a:extLst>
              <a:ext uri="{FF2B5EF4-FFF2-40B4-BE49-F238E27FC236}">
                <a16:creationId xmlns:a16="http://schemas.microsoft.com/office/drawing/2014/main" id="{F749E524-5E63-2641-877F-62E24812EC4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8222276" y="5840312"/>
            <a:ext cx="4275867" cy="523220"/>
          </a:xfrm>
          <a:prstGeom prst="rect">
            <a:avLst/>
          </a:prstGeom>
        </p:spPr>
        <p:txBody>
          <a:bodyPr rtlCol="1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3600" b="1" spc="600" dirty="0">
                <a:ln w="12700">
                  <a:solidFill>
                    <a:srgbClr val="002060"/>
                  </a:solidFill>
                </a:ln>
                <a:solidFill>
                  <a:srgbClr val="F4B184"/>
                </a:solidFill>
                <a:latin typeface="Book Antiqua" panose="02040602050305030304" pitchFamily="18" charset="0"/>
                <a:cs typeface="David" panose="020E0502060401010101" pitchFamily="34" charset="-79"/>
              </a:rPr>
              <a:t>Accessibility</a:t>
            </a:r>
            <a:endParaRPr lang="he-IL" sz="3600" b="1" spc="600" dirty="0">
              <a:ln w="12700">
                <a:solidFill>
                  <a:srgbClr val="002060"/>
                </a:solidFill>
              </a:ln>
              <a:solidFill>
                <a:srgbClr val="F4B184"/>
              </a:solidFill>
              <a:latin typeface="Book Antiqua" panose="02040602050305030304" pitchFamily="18" charset="0"/>
              <a:cs typeface="David" panose="020E0502060401010101" pitchFamily="34" charset="-79"/>
            </a:endParaRPr>
          </a:p>
        </p:txBody>
      </p:sp>
      <p:pic>
        <p:nvPicPr>
          <p:cNvPr id="4" name="תמונה 3">
            <a:extLst>
              <a:ext uri="{FF2B5EF4-FFF2-40B4-BE49-F238E27FC236}">
                <a16:creationId xmlns:a16="http://schemas.microsoft.com/office/drawing/2014/main" id="{87A5979F-4693-FC41-93B8-AC05F420375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22224" y="1749617"/>
            <a:ext cx="1522570" cy="1522570"/>
          </a:xfrm>
          <a:prstGeom prst="rect">
            <a:avLst/>
          </a:prstGeom>
        </p:spPr>
      </p:pic>
      <p:pic>
        <p:nvPicPr>
          <p:cNvPr id="8" name="תמונה 7">
            <a:extLst>
              <a:ext uri="{FF2B5EF4-FFF2-40B4-BE49-F238E27FC236}">
                <a16:creationId xmlns:a16="http://schemas.microsoft.com/office/drawing/2014/main" id="{173D342C-B056-7C4D-AF21-A647FE42080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22964" y="1548807"/>
            <a:ext cx="1852590" cy="1767665"/>
          </a:xfrm>
          <a:prstGeom prst="rect">
            <a:avLst/>
          </a:prstGeom>
        </p:spPr>
      </p:pic>
      <p:pic>
        <p:nvPicPr>
          <p:cNvPr id="15" name="תמונה 14">
            <a:extLst>
              <a:ext uri="{FF2B5EF4-FFF2-40B4-BE49-F238E27FC236}">
                <a16:creationId xmlns:a16="http://schemas.microsoft.com/office/drawing/2014/main" id="{C64D6F88-45BD-E84B-89B2-B9EC6C12387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472051" y="3611432"/>
            <a:ext cx="2022917" cy="2022917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ECA6C9AD-8316-254B-979E-F0A83E4753C2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543667" y="3611432"/>
            <a:ext cx="7511935" cy="2752100"/>
            <a:chOff x="152400" y="2543694"/>
            <a:chExt cx="12192000" cy="4466705"/>
          </a:xfrm>
        </p:grpSpPr>
        <p:pic>
          <p:nvPicPr>
            <p:cNvPr id="8194" name="Picture 2" descr="Storage unit PowerPoint presentation outlet slide">
              <a:extLst>
                <a:ext uri="{FF2B5EF4-FFF2-40B4-BE49-F238E27FC236}">
                  <a16:creationId xmlns:a16="http://schemas.microsoft.com/office/drawing/2014/main" id="{811B644F-B356-B6AB-3E1F-4438B5AA3B1C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4869"/>
            <a:stretch/>
          </p:blipFill>
          <p:spPr bwMode="auto">
            <a:xfrm>
              <a:off x="152400" y="2543694"/>
              <a:ext cx="12192000" cy="4466705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097C4B54-7280-AB55-2B46-4A447965EA4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728364" y="3684236"/>
              <a:ext cx="1297721" cy="582838"/>
            </a:xfrm>
            <a:prstGeom prst="rect">
              <a:avLst/>
            </a:prstGeom>
            <a:solidFill>
              <a:srgbClr val="F4B18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ar-EG"/>
            </a:p>
          </p:txBody>
        </p:sp>
      </p:grpSp>
      <p:pic>
        <p:nvPicPr>
          <p:cNvPr id="5" name="Recording">
            <a:hlinkClick r:id="" action="ppaction://media"/>
            <a:extLst>
              <a:ext uri="{FF2B5EF4-FFF2-40B4-BE49-F238E27FC236}">
                <a16:creationId xmlns:a16="http://schemas.microsoft.com/office/drawing/2014/main" id="{9E469410-1BDE-3D5B-ABDB-8E74DE6F578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2">
                  <p14:trim st="2884" end="565.6458"/>
                </p14:media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219075" y="7153275"/>
            <a:ext cx="531813" cy="531813"/>
          </a:xfrm>
          <a:prstGeom prst="rect">
            <a:avLst/>
          </a:prstGeom>
        </p:spPr>
      </p:pic>
      <p:pic>
        <p:nvPicPr>
          <p:cNvPr id="6" name="Recording">
            <a:hlinkClick r:id="" action="ppaction://media"/>
            <a:extLst>
              <a:ext uri="{FF2B5EF4-FFF2-40B4-BE49-F238E27FC236}">
                <a16:creationId xmlns:a16="http://schemas.microsoft.com/office/drawing/2014/main" id="{3F3F292B-B2DA-FF79-68F5-A901B94DA9E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3">
                  <p14:trim st="2292" end="598.6458"/>
                </p14:media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1519831" y="7198155"/>
            <a:ext cx="531813" cy="531813"/>
          </a:xfrm>
          <a:prstGeom prst="rect">
            <a:avLst/>
          </a:prstGeom>
        </p:spPr>
      </p:pic>
      <p:pic>
        <p:nvPicPr>
          <p:cNvPr id="9" name="Luna">
            <a:hlinkClick r:id="" action="ppaction://media"/>
            <a:extLst>
              <a:ext uri="{FF2B5EF4-FFF2-40B4-BE49-F238E27FC236}">
                <a16:creationId xmlns:a16="http://schemas.microsoft.com/office/drawing/2014/main" id="{61B31995-F37A-CE37-872C-8C9522B75A83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videoFile r:link="rId5"/>
            <p:extLst>
              <p:ext uri="{DAA4B4D4-6D71-4841-9C94-3DE7FCFB9230}">
                <p14:media xmlns:p14="http://schemas.microsoft.com/office/powerpoint/2010/main" r:embed="rId4"/>
              </p:ext>
            </p:extLst>
          </p:nvPr>
        </p:nvPicPr>
        <p:blipFill>
          <a:blip r:embed="rId12"/>
          <a:srcRect t="25587" b="19146"/>
          <a:stretch/>
        </p:blipFill>
        <p:spPr>
          <a:xfrm>
            <a:off x="5078729" y="1122367"/>
            <a:ext cx="2533286" cy="2489065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428389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5" dur="164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8" dur="3680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19" presetID="53" presetClass="entr" presetSubtype="16" fill="hold" grpId="0" nodeType="withEffect">
                                  <p:stCondLst>
                                    <p:cond delay="351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3" presetClass="entr" presetSubtype="16" fill="hold" grpId="0" nodeType="withEffect">
                                  <p:stCondLst>
                                    <p:cond delay="1351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2351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68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680"/>
                            </p:stCondLst>
                            <p:childTnLst>
                              <p:par>
                                <p:cTn id="38" presetID="2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39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40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41" dur="3153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42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  <p:audio>
              <p:cMediaNode vol="80000">
                <p:cTn id="43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  <p:video>
              <p:cMediaNode vol="80000">
                <p:cTn id="44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</p:childTnLst>
        </p:cTn>
      </p:par>
    </p:tnLst>
    <p:bldLst>
      <p:bldP spid="12" grpId="0"/>
      <p:bldP spid="26" grpId="0"/>
      <p:bldP spid="7" grpId="0"/>
      <p:bldP spid="3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792C5E11_9A39_432C_9476_22394D7E3B6B&quot;,&quot;SourceFullName&quot;:&quot;D:\\MegaDrive\\אישי\\אישי\\ECOM - QA קורס\\חומרי לימוד\\Meytal\\פרויקט 1 - אוסאמה\\PROJECT GITHUB\\השינויים שלי\\גאנט.xlsx!ניהול מחסן גאנט!R1C2:R17C46&quot;,&quot;LastUpdate&quot;:&quot;2025-05-04 9:37 AM&quot;,&quot;UpdatedBy&quot;:&quot;osama&quot;,&quot;IsLinked&quot;:false,&quot;IsBrokenLink&quot;:false,&quot;Type&quot;:2,&quot;ShapeId&quot;:0,&quot;WorksheetName&quot;:null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234BDDD5_A826_4910_BCA7_D3CE6C0F2153&quot;,&quot;SourceFullName&quot;:&quot;D:\\MegaDrive\\אישי\\אישי\\ECOM - QA קורס\\חומרי לימוד\\Meytal\\פרויקט 1 - אוסאמה\\PROJECT GITHUB\\השינויים שלי\\מסמך בדיקות STP.docx!OLE_LINK1&quot;,&quot;LastUpdate&quot;:&quot;2025-05-04 9:50 AM&quot;,&quot;UpdatedBy&quot;:&quot;osama&quot;,&quot;IsLinked&quot;:false,&quot;IsBrokenLink&quot;:false,&quot;Type&quot;:2,&quot;ShapeId&quot;:0,&quot;WorksheetName&quot;:null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8F2994ED_CDDE_422B_BD80_A1DB4DC5D63C&quot;,&quot;SourceFullName&quot;:&quot;D:\\MegaDrive\\אישי\\אישי\\ECOM - QA קורס\\חומרי לימוד\\Meytal\\פרויקט 1 - אוסאמה\\PROJECT GITHUB\\השינויים שלי\\מסמך בדיקות STP.docx!OLE_LINK5&quot;,&quot;LastUpdate&quot;:&quot;2025-05-04 10:01 AM&quot;,&quot;UpdatedBy&quot;:&quot;osama&quot;,&quot;IsLinked&quot;:false,&quot;IsBrokenLink&quot;:false,&quot;Type&quot;:2,&quot;ShapeId&quot;:0,&quot;WorksheetName&quot;:null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0727F55F_8977_445E_98B5_D18661889E86&quot;,&quot;SourceFullName&quot;:&quot;D:\\MegaDrive\\אישי\\אישי\\ECOM - QA קורס\\חומרי לימוד\\Meytal\\פרויקט 1 - אוסאמה\\PROJECT GITHUB\\השינויים שלי\\מסמך בדיקות STP.docx!OLE_LINK6&quot;,&quot;LastUpdate&quot;:&quot;2025-05-04 10:02 AM&quot;,&quot;UpdatedBy&quot;:&quot;osama&quot;,&quot;IsLinked&quot;:false,&quot;IsBrokenLink&quot;:false,&quot;Type&quot;:2,&quot;ShapeId&quot;:0,&quot;WorksheetName&quot;:null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7836BC6A_E853_42D3_B93E_AE2EA5F101B7&quot;,&quot;SourceFullName&quot;:&quot;D:\\MegaDrive\\אישי\\אישי\\ECOM - QA קורס\\חומרי לימוד\\Meytal\\פרויקט 1 - אוסאמה\\PROJECT GITHUB\\השינויים שלי\\מסמך בדיקות STP.docx!OLE_LINK7&quot;,&quot;LastUpdate&quot;:&quot;2025-05-04 10:03 AM&quot;,&quot;UpdatedBy&quot;:&quot;osama&quot;,&quot;IsLinked&quot;:false,&quot;IsBrokenLink&quot;:false,&quot;Type&quot;:2,&quot;ShapeId&quot;:0,&quot;WorksheetName&quot;:null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26843682_973E_45FF_B0F4_0C83A318F24A&quot;,&quot;SourceFullName&quot;:&quot;D:\\MegaDrive\\אישי\\אישי\\ECOM - QA קורס\\חומרי לימוד\\Meytal\\פרויקט 1 - אוסאמה\\PROJECT GITHUB\\השינויים שלי\\מסמך בדיקות STP.docx!OLE_LINK3&quot;,&quot;LastUpdate&quot;:&quot;2025-05-04 9:55 AM&quot;,&quot;UpdatedBy&quot;:&quot;osama&quot;,&quot;IsLinked&quot;:false,&quot;IsBrokenLink&quot;:false,&quot;Type&quot;:2,&quot;ShapeId&quot;:0,&quot;WorksheetName&quot;:null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60B23FEF_A11E_4F32_807C_45CACF00334E&quot;,&quot;SourceFullName&quot;:&quot;D:\\MegaDrive\\אישי\\אישי\\ECOM - QA קורס\\חומרי לימוד\\Meytal\\פרויקט 1 - אוסאמה\\PROJECT GITHUB\\השינויים שלי\\מסמך בדיקות STP.docx!OLE_LINK4&quot;,&quot;LastUpdate&quot;:&quot;2025-05-04 9:55 AM&quot;,&quot;UpdatedBy&quot;:&quot;osama&quot;,&quot;IsLinked&quot;:false,&quot;IsBrokenLink&quot;:false,&quot;Type&quot;:2,&quot;ShapeId&quot;:0,&quot;WorksheetName&quot;:null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9541D1FA_7D76_43D0_9858_05FD33CDD71A&quot;,&quot;SourceFullName&quot;:&quot;D:\\MegaDrive\\אישי\\אישי\\ECOM - QA קורס\\חומרי לימוד\\Meytal\\פרויקט 1 - אוסאמה\\PROJECT GITHUB\\השינויים שלי\\מסמך בדיקות STP.docx!OLE_LINK2&quot;,&quot;LastUpdate&quot;:&quot;2025-05-04 9:52 AM&quot;,&quot;UpdatedBy&quot;:&quot;osama&quot;,&quot;IsLinked&quot;:false,&quot;IsBrokenLink&quot;:false,&quot;Type&quot;:2,&quot;ShapeId&quot;:0,&quot;WorksheetName&quot;:null}"/>
</p:tagLst>
</file>

<file path=ppt/theme/theme1.xml><?xml version="1.0" encoding="utf-8"?>
<a:theme xmlns:a="http://schemas.openxmlformats.org/drawingml/2006/main" name="ערכת נושא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99</TotalTime>
  <Words>136</Words>
  <Application>Microsoft Office PowerPoint</Application>
  <PresentationFormat>Widescreen</PresentationFormat>
  <Paragraphs>42</Paragraphs>
  <Slides>12</Slides>
  <Notes>0</Notes>
  <HiddenSlides>0</HiddenSlides>
  <MMClips>26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Links</vt:lpstr>
      </vt:variant>
      <vt:variant>
        <vt:i4>8</vt:i4>
      </vt:variant>
      <vt:variant>
        <vt:lpstr>Slide Titles</vt:lpstr>
      </vt:variant>
      <vt:variant>
        <vt:i4>12</vt:i4>
      </vt:variant>
    </vt:vector>
  </HeadingPairs>
  <TitlesOfParts>
    <vt:vector size="26" baseType="lpstr">
      <vt:lpstr>Arial</vt:lpstr>
      <vt:lpstr>Book Antiqua</vt:lpstr>
      <vt:lpstr>Calibri</vt:lpstr>
      <vt:lpstr>Calibri Light</vt:lpstr>
      <vt:lpstr>David</vt:lpstr>
      <vt:lpstr>ערכת נושא Office</vt:lpstr>
      <vt:lpstr>file:///D:\MegaDrive\אישי\אישי\ECOM%20-%20QA%20קורס\חומרי%20לימוד\Meytal\פרויקט%201%20-%20אוסאמה\PROJECT%20GITHUB\השינויים%20שלי\גאנט.xlsx!ניהול%20מחסן%20גאנט!R1C2:R17C46</vt:lpstr>
      <vt:lpstr>file:///D:\MegaDrive\אישי\אישי\ECOM%20-%20QA%20קורס\חומרי%20לימוד\Meytal\פרויקט%201%20-%20אוסאמה\PROJECT%20GITHUB\השינויים%20שלי\מסמך%20בדיקות%20STP.docx!OLE_LINK1</vt:lpstr>
      <vt:lpstr>file:///D:\MegaDrive\אישי\אישי\ECOM%20-%20QA%20קורס\חומרי%20לימוד\Meytal\פרויקט%201%20-%20אוסאמה\PROJECT%20GITHUB\השינויים%20שלי\מסמך%20בדיקות%20STP.docx!OLE_LINK5</vt:lpstr>
      <vt:lpstr>file:///D:\MegaDrive\אישי\אישי\ECOM%20-%20QA%20קורס\חומרי%20לימוד\Meytal\פרויקט%201%20-%20אוסאמה\PROJECT%20GITHUB\השינויים%20שלי\מסמך%20בדיקות%20STP.docx!OLE_LINK6</vt:lpstr>
      <vt:lpstr>file:///D:\MegaDrive\אישי\אישי\ECOM%20-%20QA%20קורס\חומרי%20לימוד\Meytal\פרויקט%201%20-%20אוסאמה\PROJECT%20GITHUB\השינויים%20שלי\מסמך%20בדיקות%20STP.docx!OLE_LINK7</vt:lpstr>
      <vt:lpstr>file:///D:\MegaDrive\אישי\אישי\ECOM%20-%20QA%20קורס\חומרי%20לימוד\Meytal\פרויקט%201%20-%20אוסאמה\PROJECT%20GITHUB\השינויים%20שלי\מסמך%20בדיקות%20STP.docx!OLE_LINK3</vt:lpstr>
      <vt:lpstr>file:///D:\MegaDrive\אישי\אישי\ECOM%20-%20QA%20קורס\חומרי%20לימוד\Meytal\פרויקט%201%20-%20אוסאמה\PROJECT%20GITHUB\השינויים%20שלי\מסמך%20בדיקות%20STP.docx!OLE_LINK4</vt:lpstr>
      <vt:lpstr>file:///D:\MegaDrive\אישי\אישי\ECOM%20-%20QA%20קורס\חומרי%20לימוד\Meytal\פרויקט%201%20-%20אוסאמה\PROJECT%20GITHUB\השינויים%20שלי\מסמך%20בדיקות%20STP.docx!OLE_LINK2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מצגת של PowerPoint‏</dc:title>
  <dc:creator>Adasha Chai</dc:creator>
  <cp:lastModifiedBy>ali sharara</cp:lastModifiedBy>
  <cp:revision>66</cp:revision>
  <dcterms:created xsi:type="dcterms:W3CDTF">2022-05-19T14:23:39Z</dcterms:created>
  <dcterms:modified xsi:type="dcterms:W3CDTF">2025-05-22T06:02:22Z</dcterms:modified>
</cp:coreProperties>
</file>